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7"/>
  </p:notesMasterIdLst>
  <p:handoutMasterIdLst>
    <p:handoutMasterId r:id="rId38"/>
  </p:handoutMasterIdLst>
  <p:sldIdLst>
    <p:sldId id="256" r:id="rId5"/>
    <p:sldId id="2147375589" r:id="rId6"/>
    <p:sldId id="4848" r:id="rId7"/>
    <p:sldId id="2147375597" r:id="rId8"/>
    <p:sldId id="2147375600" r:id="rId9"/>
    <p:sldId id="2147375601" r:id="rId10"/>
    <p:sldId id="2147375615" r:id="rId11"/>
    <p:sldId id="2147375618" r:id="rId12"/>
    <p:sldId id="2147375616" r:id="rId13"/>
    <p:sldId id="2147375617" r:id="rId14"/>
    <p:sldId id="2147375602" r:id="rId15"/>
    <p:sldId id="2147375603" r:id="rId16"/>
    <p:sldId id="2147375604" r:id="rId17"/>
    <p:sldId id="2147375605" r:id="rId18"/>
    <p:sldId id="2147375619" r:id="rId19"/>
    <p:sldId id="2147375620" r:id="rId20"/>
    <p:sldId id="2147375621" r:id="rId21"/>
    <p:sldId id="2147375622" r:id="rId22"/>
    <p:sldId id="2147375606" r:id="rId23"/>
    <p:sldId id="2147375607" r:id="rId24"/>
    <p:sldId id="2147375608" r:id="rId25"/>
    <p:sldId id="2147375609" r:id="rId26"/>
    <p:sldId id="2147375623" r:id="rId27"/>
    <p:sldId id="2147375624" r:id="rId28"/>
    <p:sldId id="2147375625" r:id="rId29"/>
    <p:sldId id="2147375626" r:id="rId30"/>
    <p:sldId id="2147375610" r:id="rId31"/>
    <p:sldId id="2147375611" r:id="rId32"/>
    <p:sldId id="2147375612" r:id="rId33"/>
    <p:sldId id="2147375613" r:id="rId34"/>
    <p:sldId id="2147375614" r:id="rId35"/>
    <p:sldId id="1633" r:id="rId36"/>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AECE45-344F-47C8-B7B1-A3CFFEBD8CE3}" v="141" dt="2024-08-30T15:38:08.3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grawal, Shobhit SBOBNG-PTIY/BCS" userId="f130c6ba-517f-4ef4-9a2f-3bd618d170a3" providerId="ADAL" clId="{4CAECE45-344F-47C8-B7B1-A3CFFEBD8CE3}"/>
    <pc:docChg chg="undo redo custSel addSld modSld">
      <pc:chgData name="Agrawal, Shobhit SBOBNG-PTIY/BCS" userId="f130c6ba-517f-4ef4-9a2f-3bd618d170a3" providerId="ADAL" clId="{4CAECE45-344F-47C8-B7B1-A3CFFEBD8CE3}" dt="2024-08-30T15:38:18.025" v="4224" actId="20577"/>
      <pc:docMkLst>
        <pc:docMk/>
      </pc:docMkLst>
      <pc:sldChg chg="addSp modSp mod">
        <pc:chgData name="Agrawal, Shobhit SBOBNG-PTIY/BCS" userId="f130c6ba-517f-4ef4-9a2f-3bd618d170a3" providerId="ADAL" clId="{4CAECE45-344F-47C8-B7B1-A3CFFEBD8CE3}" dt="2024-08-30T13:23:18.990" v="31" actId="1076"/>
        <pc:sldMkLst>
          <pc:docMk/>
          <pc:sldMk cId="3267775274" sldId="256"/>
        </pc:sldMkLst>
        <pc:spChg chg="mod">
          <ac:chgData name="Agrawal, Shobhit SBOBNG-PTIY/BCS" userId="f130c6ba-517f-4ef4-9a2f-3bd618d170a3" providerId="ADAL" clId="{4CAECE45-344F-47C8-B7B1-A3CFFEBD8CE3}" dt="2024-08-30T13:22:55.742" v="3" actId="20577"/>
          <ac:spMkLst>
            <pc:docMk/>
            <pc:sldMk cId="3267775274" sldId="256"/>
            <ac:spMk id="6" creationId="{0C37A4A8-A3C7-407F-B123-88E2E165C827}"/>
          </ac:spMkLst>
        </pc:spChg>
        <pc:spChg chg="mod">
          <ac:chgData name="Agrawal, Shobhit SBOBNG-PTIY/BCS" userId="f130c6ba-517f-4ef4-9a2f-3bd618d170a3" providerId="ADAL" clId="{4CAECE45-344F-47C8-B7B1-A3CFFEBD8CE3}" dt="2024-08-30T13:23:03.169" v="26" actId="20577"/>
          <ac:spMkLst>
            <pc:docMk/>
            <pc:sldMk cId="3267775274" sldId="256"/>
            <ac:spMk id="12" creationId="{8A24547F-8A92-CDC5-A578-3733390534F2}"/>
          </ac:spMkLst>
        </pc:spChg>
        <pc:picChg chg="add mod">
          <ac:chgData name="Agrawal, Shobhit SBOBNG-PTIY/BCS" userId="f130c6ba-517f-4ef4-9a2f-3bd618d170a3" providerId="ADAL" clId="{4CAECE45-344F-47C8-B7B1-A3CFFEBD8CE3}" dt="2024-08-30T13:23:18.990" v="31" actId="1076"/>
          <ac:picMkLst>
            <pc:docMk/>
            <pc:sldMk cId="3267775274" sldId="256"/>
            <ac:picMk id="3" creationId="{F769E610-8AA9-B53C-4EB4-D94DEAA34B51}"/>
          </ac:picMkLst>
        </pc:picChg>
      </pc:sldChg>
      <pc:sldChg chg="addSp modSp mod">
        <pc:chgData name="Agrawal, Shobhit SBOBNG-PTIY/BCS" userId="f130c6ba-517f-4ef4-9a2f-3bd618d170a3" providerId="ADAL" clId="{4CAECE45-344F-47C8-B7B1-A3CFFEBD8CE3}" dt="2024-08-30T13:27:27.232" v="62" actId="1076"/>
        <pc:sldMkLst>
          <pc:docMk/>
          <pc:sldMk cId="867832184" sldId="2147375589"/>
        </pc:sldMkLst>
        <pc:spChg chg="add">
          <ac:chgData name="Agrawal, Shobhit SBOBNG-PTIY/BCS" userId="f130c6ba-517f-4ef4-9a2f-3bd618d170a3" providerId="ADAL" clId="{4CAECE45-344F-47C8-B7B1-A3CFFEBD8CE3}" dt="2024-08-30T13:26:54.996" v="55"/>
          <ac:spMkLst>
            <pc:docMk/>
            <pc:sldMk cId="867832184" sldId="2147375589"/>
            <ac:spMk id="2" creationId="{8A5479FF-A74D-BB00-E60D-E4139FE0E5D5}"/>
          </ac:spMkLst>
        </pc:spChg>
        <pc:spChg chg="mod">
          <ac:chgData name="Agrawal, Shobhit SBOBNG-PTIY/BCS" userId="f130c6ba-517f-4ef4-9a2f-3bd618d170a3" providerId="ADAL" clId="{4CAECE45-344F-47C8-B7B1-A3CFFEBD8CE3}" dt="2024-08-30T13:25:01.657" v="53"/>
          <ac:spMkLst>
            <pc:docMk/>
            <pc:sldMk cId="867832184" sldId="2147375589"/>
            <ac:spMk id="10" creationId="{1119CB9E-042F-11E8-F683-654626D307B3}"/>
          </ac:spMkLst>
        </pc:spChg>
        <pc:spChg chg="mod">
          <ac:chgData name="Agrawal, Shobhit SBOBNG-PTIY/BCS" userId="f130c6ba-517f-4ef4-9a2f-3bd618d170a3" providerId="ADAL" clId="{4CAECE45-344F-47C8-B7B1-A3CFFEBD8CE3}" dt="2024-08-30T13:26:54.520" v="54" actId="20577"/>
          <ac:spMkLst>
            <pc:docMk/>
            <pc:sldMk cId="867832184" sldId="2147375589"/>
            <ac:spMk id="11" creationId="{CE0DDF5F-FE47-F9A2-FE84-53B63DFF494D}"/>
          </ac:spMkLst>
        </pc:spChg>
        <pc:picChg chg="add mod">
          <ac:chgData name="Agrawal, Shobhit SBOBNG-PTIY/BCS" userId="f130c6ba-517f-4ef4-9a2f-3bd618d170a3" providerId="ADAL" clId="{4CAECE45-344F-47C8-B7B1-A3CFFEBD8CE3}" dt="2024-08-30T13:27:27.232" v="62" actId="1076"/>
          <ac:picMkLst>
            <pc:docMk/>
            <pc:sldMk cId="867832184" sldId="2147375589"/>
            <ac:picMk id="7" creationId="{2E7FBDEF-5103-FC8E-61AB-F953E7DF1033}"/>
          </ac:picMkLst>
        </pc:picChg>
      </pc:sldChg>
      <pc:sldChg chg="addSp modSp mod">
        <pc:chgData name="Agrawal, Shobhit SBOBNG-PTIY/BCS" userId="f130c6ba-517f-4ef4-9a2f-3bd618d170a3" providerId="ADAL" clId="{4CAECE45-344F-47C8-B7B1-A3CFFEBD8CE3}" dt="2024-08-30T15:07:31.486" v="3382" actId="20577"/>
        <pc:sldMkLst>
          <pc:docMk/>
          <pc:sldMk cId="245881457" sldId="2147375597"/>
        </pc:sldMkLst>
        <pc:spChg chg="mod">
          <ac:chgData name="Agrawal, Shobhit SBOBNG-PTIY/BCS" userId="f130c6ba-517f-4ef4-9a2f-3bd618d170a3" providerId="ADAL" clId="{4CAECE45-344F-47C8-B7B1-A3CFFEBD8CE3}" dt="2024-08-30T15:07:31.486" v="3382" actId="20577"/>
          <ac:spMkLst>
            <pc:docMk/>
            <pc:sldMk cId="245881457" sldId="2147375597"/>
            <ac:spMk id="11" creationId="{DE9F1BE0-7910-FA1B-DCE8-56EFD1E4FC09}"/>
          </ac:spMkLst>
        </pc:spChg>
        <pc:spChg chg="mod">
          <ac:chgData name="Agrawal, Shobhit SBOBNG-PTIY/BCS" userId="f130c6ba-517f-4ef4-9a2f-3bd618d170a3" providerId="ADAL" clId="{4CAECE45-344F-47C8-B7B1-A3CFFEBD8CE3}" dt="2024-08-30T13:33:51.886" v="222" actId="14100"/>
          <ac:spMkLst>
            <pc:docMk/>
            <pc:sldMk cId="245881457" sldId="2147375597"/>
            <ac:spMk id="12" creationId="{E53E5C3F-4D2B-B85F-E592-E58E032C664C}"/>
          </ac:spMkLst>
        </pc:spChg>
        <pc:picChg chg="add mod">
          <ac:chgData name="Agrawal, Shobhit SBOBNG-PTIY/BCS" userId="f130c6ba-517f-4ef4-9a2f-3bd618d170a3" providerId="ADAL" clId="{4CAECE45-344F-47C8-B7B1-A3CFFEBD8CE3}" dt="2024-08-30T13:34:00.154" v="225" actId="1076"/>
          <ac:picMkLst>
            <pc:docMk/>
            <pc:sldMk cId="245881457" sldId="2147375597"/>
            <ac:picMk id="2050" creationId="{5015F04C-B4D8-1D18-96F2-7CFD65B10E76}"/>
          </ac:picMkLst>
        </pc:picChg>
      </pc:sldChg>
      <pc:sldChg chg="addSp modSp mod">
        <pc:chgData name="Agrawal, Shobhit SBOBNG-PTIY/BCS" userId="f130c6ba-517f-4ef4-9a2f-3bd618d170a3" providerId="ADAL" clId="{4CAECE45-344F-47C8-B7B1-A3CFFEBD8CE3}" dt="2024-08-30T15:07:25.052" v="3381" actId="20577"/>
        <pc:sldMkLst>
          <pc:docMk/>
          <pc:sldMk cId="1181112711" sldId="2147375600"/>
        </pc:sldMkLst>
        <pc:spChg chg="mod">
          <ac:chgData name="Agrawal, Shobhit SBOBNG-PTIY/BCS" userId="f130c6ba-517f-4ef4-9a2f-3bd618d170a3" providerId="ADAL" clId="{4CAECE45-344F-47C8-B7B1-A3CFFEBD8CE3}" dt="2024-08-30T15:07:25.052" v="3381" actId="20577"/>
          <ac:spMkLst>
            <pc:docMk/>
            <pc:sldMk cId="1181112711" sldId="2147375600"/>
            <ac:spMk id="11" creationId="{DE9F1BE0-7910-FA1B-DCE8-56EFD1E4FC09}"/>
          </ac:spMkLst>
        </pc:spChg>
        <pc:spChg chg="mod">
          <ac:chgData name="Agrawal, Shobhit SBOBNG-PTIY/BCS" userId="f130c6ba-517f-4ef4-9a2f-3bd618d170a3" providerId="ADAL" clId="{4CAECE45-344F-47C8-B7B1-A3CFFEBD8CE3}" dt="2024-08-30T13:40:40.853" v="302" actId="20577"/>
          <ac:spMkLst>
            <pc:docMk/>
            <pc:sldMk cId="1181112711" sldId="2147375600"/>
            <ac:spMk id="12" creationId="{E53E5C3F-4D2B-B85F-E592-E58E032C664C}"/>
          </ac:spMkLst>
        </pc:spChg>
        <pc:picChg chg="add mod">
          <ac:chgData name="Agrawal, Shobhit SBOBNG-PTIY/BCS" userId="f130c6ba-517f-4ef4-9a2f-3bd618d170a3" providerId="ADAL" clId="{4CAECE45-344F-47C8-B7B1-A3CFFEBD8CE3}" dt="2024-08-30T13:40:55.348" v="316" actId="1038"/>
          <ac:picMkLst>
            <pc:docMk/>
            <pc:sldMk cId="1181112711" sldId="2147375600"/>
            <ac:picMk id="3074" creationId="{CEF07BC9-E677-BD0C-5151-F869B05548EA}"/>
          </ac:picMkLst>
        </pc:picChg>
      </pc:sldChg>
      <pc:sldChg chg="addSp modSp mod">
        <pc:chgData name="Agrawal, Shobhit SBOBNG-PTIY/BCS" userId="f130c6ba-517f-4ef4-9a2f-3bd618d170a3" providerId="ADAL" clId="{4CAECE45-344F-47C8-B7B1-A3CFFEBD8CE3}" dt="2024-08-30T15:07:16.004" v="3380" actId="20577"/>
        <pc:sldMkLst>
          <pc:docMk/>
          <pc:sldMk cId="3233747587" sldId="2147375601"/>
        </pc:sldMkLst>
        <pc:spChg chg="mod">
          <ac:chgData name="Agrawal, Shobhit SBOBNG-PTIY/BCS" userId="f130c6ba-517f-4ef4-9a2f-3bd618d170a3" providerId="ADAL" clId="{4CAECE45-344F-47C8-B7B1-A3CFFEBD8CE3}" dt="2024-08-30T15:07:16.004" v="3380" actId="20577"/>
          <ac:spMkLst>
            <pc:docMk/>
            <pc:sldMk cId="3233747587" sldId="2147375601"/>
            <ac:spMk id="11" creationId="{DE9F1BE0-7910-FA1B-DCE8-56EFD1E4FC09}"/>
          </ac:spMkLst>
        </pc:spChg>
        <pc:spChg chg="mod">
          <ac:chgData name="Agrawal, Shobhit SBOBNG-PTIY/BCS" userId="f130c6ba-517f-4ef4-9a2f-3bd618d170a3" providerId="ADAL" clId="{4CAECE45-344F-47C8-B7B1-A3CFFEBD8CE3}" dt="2024-08-30T14:14:58.637" v="537" actId="20577"/>
          <ac:spMkLst>
            <pc:docMk/>
            <pc:sldMk cId="3233747587" sldId="2147375601"/>
            <ac:spMk id="12" creationId="{E53E5C3F-4D2B-B85F-E592-E58E032C664C}"/>
          </ac:spMkLst>
        </pc:spChg>
        <pc:picChg chg="add mod">
          <ac:chgData name="Agrawal, Shobhit SBOBNG-PTIY/BCS" userId="f130c6ba-517f-4ef4-9a2f-3bd618d170a3" providerId="ADAL" clId="{4CAECE45-344F-47C8-B7B1-A3CFFEBD8CE3}" dt="2024-08-30T14:15:09.299" v="541" actId="1036"/>
          <ac:picMkLst>
            <pc:docMk/>
            <pc:sldMk cId="3233747587" sldId="2147375601"/>
            <ac:picMk id="4098" creationId="{F6552E51-5EEA-5A6C-23C2-0DCB9A035F87}"/>
          </ac:picMkLst>
        </pc:picChg>
      </pc:sldChg>
      <pc:sldChg chg="addSp modSp mod">
        <pc:chgData name="Agrawal, Shobhit SBOBNG-PTIY/BCS" userId="f130c6ba-517f-4ef4-9a2f-3bd618d170a3" providerId="ADAL" clId="{4CAECE45-344F-47C8-B7B1-A3CFFEBD8CE3}" dt="2024-08-30T14:22:17.925" v="679"/>
        <pc:sldMkLst>
          <pc:docMk/>
          <pc:sldMk cId="3971512377" sldId="2147375603"/>
        </pc:sldMkLst>
        <pc:spChg chg="mod">
          <ac:chgData name="Agrawal, Shobhit SBOBNG-PTIY/BCS" userId="f130c6ba-517f-4ef4-9a2f-3bd618d170a3" providerId="ADAL" clId="{4CAECE45-344F-47C8-B7B1-A3CFFEBD8CE3}" dt="2024-08-30T14:16:58.546" v="636"/>
          <ac:spMkLst>
            <pc:docMk/>
            <pc:sldMk cId="3971512377" sldId="2147375603"/>
            <ac:spMk id="11" creationId="{DE9F1BE0-7910-FA1B-DCE8-56EFD1E4FC09}"/>
          </ac:spMkLst>
        </pc:spChg>
        <pc:spChg chg="mod">
          <ac:chgData name="Agrawal, Shobhit SBOBNG-PTIY/BCS" userId="f130c6ba-517f-4ef4-9a2f-3bd618d170a3" providerId="ADAL" clId="{4CAECE45-344F-47C8-B7B1-A3CFFEBD8CE3}" dt="2024-08-30T14:19:44.680" v="670" actId="20577"/>
          <ac:spMkLst>
            <pc:docMk/>
            <pc:sldMk cId="3971512377" sldId="2147375603"/>
            <ac:spMk id="12" creationId="{E53E5C3F-4D2B-B85F-E592-E58E032C664C}"/>
          </ac:spMkLst>
        </pc:spChg>
        <pc:picChg chg="add mod">
          <ac:chgData name="Agrawal, Shobhit SBOBNG-PTIY/BCS" userId="f130c6ba-517f-4ef4-9a2f-3bd618d170a3" providerId="ADAL" clId="{4CAECE45-344F-47C8-B7B1-A3CFFEBD8CE3}" dt="2024-08-30T14:22:17.925" v="679"/>
          <ac:picMkLst>
            <pc:docMk/>
            <pc:sldMk cId="3971512377" sldId="2147375603"/>
            <ac:picMk id="6146" creationId="{B8F5738F-CEB3-29B1-E5A9-3194BC9547DC}"/>
          </ac:picMkLst>
        </pc:picChg>
      </pc:sldChg>
      <pc:sldChg chg="addSp modSp mod">
        <pc:chgData name="Agrawal, Shobhit SBOBNG-PTIY/BCS" userId="f130c6ba-517f-4ef4-9a2f-3bd618d170a3" providerId="ADAL" clId="{4CAECE45-344F-47C8-B7B1-A3CFFEBD8CE3}" dt="2024-08-30T14:23:36.666" v="683" actId="1076"/>
        <pc:sldMkLst>
          <pc:docMk/>
          <pc:sldMk cId="3179805674" sldId="2147375604"/>
        </pc:sldMkLst>
        <pc:spChg chg="add">
          <ac:chgData name="Agrawal, Shobhit SBOBNG-PTIY/BCS" userId="f130c6ba-517f-4ef4-9a2f-3bd618d170a3" providerId="ADAL" clId="{4CAECE45-344F-47C8-B7B1-A3CFFEBD8CE3}" dt="2024-08-30T14:17:46.133" v="645"/>
          <ac:spMkLst>
            <pc:docMk/>
            <pc:sldMk cId="3179805674" sldId="2147375604"/>
            <ac:spMk id="2" creationId="{CE4B7FD8-3541-4CD9-EC65-7E8DA6F80481}"/>
          </ac:spMkLst>
        </pc:spChg>
        <pc:spChg chg="mod">
          <ac:chgData name="Agrawal, Shobhit SBOBNG-PTIY/BCS" userId="f130c6ba-517f-4ef4-9a2f-3bd618d170a3" providerId="ADAL" clId="{4CAECE45-344F-47C8-B7B1-A3CFFEBD8CE3}" dt="2024-08-30T14:17:59.864" v="653"/>
          <ac:spMkLst>
            <pc:docMk/>
            <pc:sldMk cId="3179805674" sldId="2147375604"/>
            <ac:spMk id="11" creationId="{DE9F1BE0-7910-FA1B-DCE8-56EFD1E4FC09}"/>
          </ac:spMkLst>
        </pc:spChg>
        <pc:spChg chg="mod">
          <ac:chgData name="Agrawal, Shobhit SBOBNG-PTIY/BCS" userId="f130c6ba-517f-4ef4-9a2f-3bd618d170a3" providerId="ADAL" clId="{4CAECE45-344F-47C8-B7B1-A3CFFEBD8CE3}" dt="2024-08-30T14:20:15.608" v="672" actId="20577"/>
          <ac:spMkLst>
            <pc:docMk/>
            <pc:sldMk cId="3179805674" sldId="2147375604"/>
            <ac:spMk id="12" creationId="{E53E5C3F-4D2B-B85F-E592-E58E032C664C}"/>
          </ac:spMkLst>
        </pc:spChg>
        <pc:picChg chg="add mod">
          <ac:chgData name="Agrawal, Shobhit SBOBNG-PTIY/BCS" userId="f130c6ba-517f-4ef4-9a2f-3bd618d170a3" providerId="ADAL" clId="{4CAECE45-344F-47C8-B7B1-A3CFFEBD8CE3}" dt="2024-08-30T14:23:36.666" v="683" actId="1076"/>
          <ac:picMkLst>
            <pc:docMk/>
            <pc:sldMk cId="3179805674" sldId="2147375604"/>
            <ac:picMk id="5123" creationId="{2676FA03-5458-3F43-7DC6-9C18E7767DE3}"/>
          </ac:picMkLst>
        </pc:picChg>
      </pc:sldChg>
      <pc:sldChg chg="addSp delSp modSp mod">
        <pc:chgData name="Agrawal, Shobhit SBOBNG-PTIY/BCS" userId="f130c6ba-517f-4ef4-9a2f-3bd618d170a3" providerId="ADAL" clId="{4CAECE45-344F-47C8-B7B1-A3CFFEBD8CE3}" dt="2024-08-30T15:25:15.425" v="4041" actId="22"/>
        <pc:sldMkLst>
          <pc:docMk/>
          <pc:sldMk cId="86366928" sldId="2147375605"/>
        </pc:sldMkLst>
        <pc:spChg chg="mod">
          <ac:chgData name="Agrawal, Shobhit SBOBNG-PTIY/BCS" userId="f130c6ba-517f-4ef4-9a2f-3bd618d170a3" providerId="ADAL" clId="{4CAECE45-344F-47C8-B7B1-A3CFFEBD8CE3}" dt="2024-08-30T14:19:05.386" v="668" actId="20577"/>
          <ac:spMkLst>
            <pc:docMk/>
            <pc:sldMk cId="86366928" sldId="2147375605"/>
            <ac:spMk id="11" creationId="{DE9F1BE0-7910-FA1B-DCE8-56EFD1E4FC09}"/>
          </ac:spMkLst>
        </pc:spChg>
        <pc:spChg chg="mod">
          <ac:chgData name="Agrawal, Shobhit SBOBNG-PTIY/BCS" userId="f130c6ba-517f-4ef4-9a2f-3bd618d170a3" providerId="ADAL" clId="{4CAECE45-344F-47C8-B7B1-A3CFFEBD8CE3}" dt="2024-08-30T14:20:19.976" v="674" actId="20577"/>
          <ac:spMkLst>
            <pc:docMk/>
            <pc:sldMk cId="86366928" sldId="2147375605"/>
            <ac:spMk id="12" creationId="{E53E5C3F-4D2B-B85F-E592-E58E032C664C}"/>
          </ac:spMkLst>
        </pc:spChg>
        <pc:picChg chg="add del">
          <ac:chgData name="Agrawal, Shobhit SBOBNG-PTIY/BCS" userId="f130c6ba-517f-4ef4-9a2f-3bd618d170a3" providerId="ADAL" clId="{4CAECE45-344F-47C8-B7B1-A3CFFEBD8CE3}" dt="2024-08-30T15:25:15.425" v="4041" actId="22"/>
          <ac:picMkLst>
            <pc:docMk/>
            <pc:sldMk cId="86366928" sldId="2147375605"/>
            <ac:picMk id="6" creationId="{41DECEF4-CCC6-2DA3-DD21-CD8EE5017895}"/>
          </ac:picMkLst>
        </pc:picChg>
        <pc:picChg chg="add del">
          <ac:chgData name="Agrawal, Shobhit SBOBNG-PTIY/BCS" userId="f130c6ba-517f-4ef4-9a2f-3bd618d170a3" providerId="ADAL" clId="{4CAECE45-344F-47C8-B7B1-A3CFFEBD8CE3}" dt="2024-08-30T15:25:15.146" v="4040" actId="22"/>
          <ac:picMkLst>
            <pc:docMk/>
            <pc:sldMk cId="86366928" sldId="2147375605"/>
            <ac:picMk id="9" creationId="{E06E8139-BE36-B415-5FBE-54DF90E5696D}"/>
          </ac:picMkLst>
        </pc:picChg>
        <pc:picChg chg="add del">
          <ac:chgData name="Agrawal, Shobhit SBOBNG-PTIY/BCS" userId="f130c6ba-517f-4ef4-9a2f-3bd618d170a3" providerId="ADAL" clId="{4CAECE45-344F-47C8-B7B1-A3CFFEBD8CE3}" dt="2024-08-30T15:25:14.529" v="4039" actId="22"/>
          <ac:picMkLst>
            <pc:docMk/>
            <pc:sldMk cId="86366928" sldId="2147375605"/>
            <ac:picMk id="14" creationId="{52950E71-4939-FD85-3802-3DCE47F1511A}"/>
          </ac:picMkLst>
        </pc:picChg>
        <pc:picChg chg="add del mod">
          <ac:chgData name="Agrawal, Shobhit SBOBNG-PTIY/BCS" userId="f130c6ba-517f-4ef4-9a2f-3bd618d170a3" providerId="ADAL" clId="{4CAECE45-344F-47C8-B7B1-A3CFFEBD8CE3}" dt="2024-08-30T14:22:14.465" v="678" actId="21"/>
          <ac:picMkLst>
            <pc:docMk/>
            <pc:sldMk cId="86366928" sldId="2147375605"/>
            <ac:picMk id="6146" creationId="{B8F5738F-CEB3-29B1-E5A9-3194BC9547DC}"/>
          </ac:picMkLst>
        </pc:picChg>
        <pc:picChg chg="add">
          <ac:chgData name="Agrawal, Shobhit SBOBNG-PTIY/BCS" userId="f130c6ba-517f-4ef4-9a2f-3bd618d170a3" providerId="ADAL" clId="{4CAECE45-344F-47C8-B7B1-A3CFFEBD8CE3}" dt="2024-08-30T14:24:45.247" v="684"/>
          <ac:picMkLst>
            <pc:docMk/>
            <pc:sldMk cId="86366928" sldId="2147375605"/>
            <ac:picMk id="6148" creationId="{116ACFAC-32B0-E199-3600-39FA6A1A2524}"/>
          </ac:picMkLst>
        </pc:picChg>
        <pc:picChg chg="add mod">
          <ac:chgData name="Agrawal, Shobhit SBOBNG-PTIY/BCS" userId="f130c6ba-517f-4ef4-9a2f-3bd618d170a3" providerId="ADAL" clId="{4CAECE45-344F-47C8-B7B1-A3CFFEBD8CE3}" dt="2024-08-30T14:24:59.942" v="686" actId="1076"/>
          <ac:picMkLst>
            <pc:docMk/>
            <pc:sldMk cId="86366928" sldId="2147375605"/>
            <ac:picMk id="6150" creationId="{4AC0F7F0-54DA-5E4B-800F-66CD0C7A8DD5}"/>
          </ac:picMkLst>
        </pc:picChg>
      </pc:sldChg>
      <pc:sldChg chg="addSp modSp mod">
        <pc:chgData name="Agrawal, Shobhit SBOBNG-PTIY/BCS" userId="f130c6ba-517f-4ef4-9a2f-3bd618d170a3" providerId="ADAL" clId="{4CAECE45-344F-47C8-B7B1-A3CFFEBD8CE3}" dt="2024-08-30T14:30:24.853" v="726" actId="1076"/>
        <pc:sldMkLst>
          <pc:docMk/>
          <pc:sldMk cId="2340944189" sldId="2147375607"/>
        </pc:sldMkLst>
        <pc:spChg chg="mod">
          <ac:chgData name="Agrawal, Shobhit SBOBNG-PTIY/BCS" userId="f130c6ba-517f-4ef4-9a2f-3bd618d170a3" providerId="ADAL" clId="{4CAECE45-344F-47C8-B7B1-A3CFFEBD8CE3}" dt="2024-08-30T14:26:55.337" v="696" actId="20577"/>
          <ac:spMkLst>
            <pc:docMk/>
            <pc:sldMk cId="2340944189" sldId="2147375607"/>
            <ac:spMk id="11" creationId="{DE9F1BE0-7910-FA1B-DCE8-56EFD1E4FC09}"/>
          </ac:spMkLst>
        </pc:spChg>
        <pc:spChg chg="mod">
          <ac:chgData name="Agrawal, Shobhit SBOBNG-PTIY/BCS" userId="f130c6ba-517f-4ef4-9a2f-3bd618d170a3" providerId="ADAL" clId="{4CAECE45-344F-47C8-B7B1-A3CFFEBD8CE3}" dt="2024-08-30T14:30:10.034" v="723" actId="20577"/>
          <ac:spMkLst>
            <pc:docMk/>
            <pc:sldMk cId="2340944189" sldId="2147375607"/>
            <ac:spMk id="12" creationId="{E53E5C3F-4D2B-B85F-E592-E58E032C664C}"/>
          </ac:spMkLst>
        </pc:spChg>
        <pc:picChg chg="add mod">
          <ac:chgData name="Agrawal, Shobhit SBOBNG-PTIY/BCS" userId="f130c6ba-517f-4ef4-9a2f-3bd618d170a3" providerId="ADAL" clId="{4CAECE45-344F-47C8-B7B1-A3CFFEBD8CE3}" dt="2024-08-30T14:30:24.853" v="726" actId="1076"/>
          <ac:picMkLst>
            <pc:docMk/>
            <pc:sldMk cId="2340944189" sldId="2147375607"/>
            <ac:picMk id="8194" creationId="{767DDA49-5AC0-8376-4EEA-FB09030AE865}"/>
          </ac:picMkLst>
        </pc:picChg>
      </pc:sldChg>
      <pc:sldChg chg="addSp modSp mod">
        <pc:chgData name="Agrawal, Shobhit SBOBNG-PTIY/BCS" userId="f130c6ba-517f-4ef4-9a2f-3bd618d170a3" providerId="ADAL" clId="{4CAECE45-344F-47C8-B7B1-A3CFFEBD8CE3}" dt="2024-08-30T14:31:36.271" v="737" actId="1076"/>
        <pc:sldMkLst>
          <pc:docMk/>
          <pc:sldMk cId="3159148252" sldId="2147375608"/>
        </pc:sldMkLst>
        <pc:spChg chg="add">
          <ac:chgData name="Agrawal, Shobhit SBOBNG-PTIY/BCS" userId="f130c6ba-517f-4ef4-9a2f-3bd618d170a3" providerId="ADAL" clId="{4CAECE45-344F-47C8-B7B1-A3CFFEBD8CE3}" dt="2024-08-30T14:31:10.554" v="732"/>
          <ac:spMkLst>
            <pc:docMk/>
            <pc:sldMk cId="3159148252" sldId="2147375608"/>
            <ac:spMk id="5" creationId="{516542F5-0732-6447-F4E4-4F5DF409B9FA}"/>
          </ac:spMkLst>
        </pc:spChg>
        <pc:spChg chg="add">
          <ac:chgData name="Agrawal, Shobhit SBOBNG-PTIY/BCS" userId="f130c6ba-517f-4ef4-9a2f-3bd618d170a3" providerId="ADAL" clId="{4CAECE45-344F-47C8-B7B1-A3CFFEBD8CE3}" dt="2024-08-30T14:31:16.157" v="733"/>
          <ac:spMkLst>
            <pc:docMk/>
            <pc:sldMk cId="3159148252" sldId="2147375608"/>
            <ac:spMk id="6" creationId="{A5D4920D-AC08-1BBE-DA9D-81C72E96109F}"/>
          </ac:spMkLst>
        </pc:spChg>
        <pc:spChg chg="mod">
          <ac:chgData name="Agrawal, Shobhit SBOBNG-PTIY/BCS" userId="f130c6ba-517f-4ef4-9a2f-3bd618d170a3" providerId="ADAL" clId="{4CAECE45-344F-47C8-B7B1-A3CFFEBD8CE3}" dt="2024-08-30T14:27:52.894" v="707" actId="20577"/>
          <ac:spMkLst>
            <pc:docMk/>
            <pc:sldMk cId="3159148252" sldId="2147375608"/>
            <ac:spMk id="11" creationId="{DE9F1BE0-7910-FA1B-DCE8-56EFD1E4FC09}"/>
          </ac:spMkLst>
        </pc:spChg>
        <pc:spChg chg="mod">
          <ac:chgData name="Agrawal, Shobhit SBOBNG-PTIY/BCS" userId="f130c6ba-517f-4ef4-9a2f-3bd618d170a3" providerId="ADAL" clId="{4CAECE45-344F-47C8-B7B1-A3CFFEBD8CE3}" dt="2024-08-30T14:31:32.871" v="736" actId="1076"/>
          <ac:spMkLst>
            <pc:docMk/>
            <pc:sldMk cId="3159148252" sldId="2147375608"/>
            <ac:spMk id="12" creationId="{E53E5C3F-4D2B-B85F-E592-E58E032C664C}"/>
          </ac:spMkLst>
        </pc:spChg>
        <pc:picChg chg="add mod">
          <ac:chgData name="Agrawal, Shobhit SBOBNG-PTIY/BCS" userId="f130c6ba-517f-4ef4-9a2f-3bd618d170a3" providerId="ADAL" clId="{4CAECE45-344F-47C8-B7B1-A3CFFEBD8CE3}" dt="2024-08-30T14:31:36.271" v="737" actId="1076"/>
          <ac:picMkLst>
            <pc:docMk/>
            <pc:sldMk cId="3159148252" sldId="2147375608"/>
            <ac:picMk id="9222" creationId="{FE87CDBE-BD4E-6EAE-A85F-8ADF1ED067D4}"/>
          </ac:picMkLst>
        </pc:picChg>
      </pc:sldChg>
      <pc:sldChg chg="addSp modSp mod">
        <pc:chgData name="Agrawal, Shobhit SBOBNG-PTIY/BCS" userId="f130c6ba-517f-4ef4-9a2f-3bd618d170a3" providerId="ADAL" clId="{4CAECE45-344F-47C8-B7B1-A3CFFEBD8CE3}" dt="2024-08-30T14:32:46.013" v="747" actId="1076"/>
        <pc:sldMkLst>
          <pc:docMk/>
          <pc:sldMk cId="3070204084" sldId="2147375609"/>
        </pc:sldMkLst>
        <pc:spChg chg="mod">
          <ac:chgData name="Agrawal, Shobhit SBOBNG-PTIY/BCS" userId="f130c6ba-517f-4ef4-9a2f-3bd618d170a3" providerId="ADAL" clId="{4CAECE45-344F-47C8-B7B1-A3CFFEBD8CE3}" dt="2024-08-30T14:28:42.405" v="718" actId="20577"/>
          <ac:spMkLst>
            <pc:docMk/>
            <pc:sldMk cId="3070204084" sldId="2147375609"/>
            <ac:spMk id="11" creationId="{DE9F1BE0-7910-FA1B-DCE8-56EFD1E4FC09}"/>
          </ac:spMkLst>
        </pc:spChg>
        <pc:spChg chg="mod">
          <ac:chgData name="Agrawal, Shobhit SBOBNG-PTIY/BCS" userId="f130c6ba-517f-4ef4-9a2f-3bd618d170a3" providerId="ADAL" clId="{4CAECE45-344F-47C8-B7B1-A3CFFEBD8CE3}" dt="2024-08-30T14:32:35.385" v="743" actId="14100"/>
          <ac:spMkLst>
            <pc:docMk/>
            <pc:sldMk cId="3070204084" sldId="2147375609"/>
            <ac:spMk id="12" creationId="{E53E5C3F-4D2B-B85F-E592-E58E032C664C}"/>
          </ac:spMkLst>
        </pc:spChg>
        <pc:picChg chg="add mod">
          <ac:chgData name="Agrawal, Shobhit SBOBNG-PTIY/BCS" userId="f130c6ba-517f-4ef4-9a2f-3bd618d170a3" providerId="ADAL" clId="{4CAECE45-344F-47C8-B7B1-A3CFFEBD8CE3}" dt="2024-08-30T14:32:46.013" v="747" actId="1076"/>
          <ac:picMkLst>
            <pc:docMk/>
            <pc:sldMk cId="3070204084" sldId="2147375609"/>
            <ac:picMk id="10242" creationId="{716395F6-5BF1-E85E-614A-201A9121F52A}"/>
          </ac:picMkLst>
        </pc:picChg>
      </pc:sldChg>
      <pc:sldChg chg="modSp mod">
        <pc:chgData name="Agrawal, Shobhit SBOBNG-PTIY/BCS" userId="f130c6ba-517f-4ef4-9a2f-3bd618d170a3" providerId="ADAL" clId="{4CAECE45-344F-47C8-B7B1-A3CFFEBD8CE3}" dt="2024-08-30T15:27:31.490" v="4175" actId="20577"/>
        <pc:sldMkLst>
          <pc:docMk/>
          <pc:sldMk cId="3754613224" sldId="2147375611"/>
        </pc:sldMkLst>
        <pc:spChg chg="mod">
          <ac:chgData name="Agrawal, Shobhit SBOBNG-PTIY/BCS" userId="f130c6ba-517f-4ef4-9a2f-3bd618d170a3" providerId="ADAL" clId="{4CAECE45-344F-47C8-B7B1-A3CFFEBD8CE3}" dt="2024-08-30T15:27:31.490" v="4175" actId="20577"/>
          <ac:spMkLst>
            <pc:docMk/>
            <pc:sldMk cId="3754613224" sldId="2147375611"/>
            <ac:spMk id="18" creationId="{6C73795A-BE20-7075-E9C6-6F145CE60794}"/>
          </ac:spMkLst>
        </pc:spChg>
        <pc:spChg chg="mod">
          <ac:chgData name="Agrawal, Shobhit SBOBNG-PTIY/BCS" userId="f130c6ba-517f-4ef4-9a2f-3bd618d170a3" providerId="ADAL" clId="{4CAECE45-344F-47C8-B7B1-A3CFFEBD8CE3}" dt="2024-08-30T14:42:46.316" v="1205" actId="20577"/>
          <ac:spMkLst>
            <pc:docMk/>
            <pc:sldMk cId="3754613224" sldId="2147375611"/>
            <ac:spMk id="19" creationId="{A3E2F4D1-4417-E244-3DB9-A6FF5866A342}"/>
          </ac:spMkLst>
        </pc:spChg>
        <pc:spChg chg="mod">
          <ac:chgData name="Agrawal, Shobhit SBOBNG-PTIY/BCS" userId="f130c6ba-517f-4ef4-9a2f-3bd618d170a3" providerId="ADAL" clId="{4CAECE45-344F-47C8-B7B1-A3CFFEBD8CE3}" dt="2024-08-30T14:43:30.226" v="1308" actId="20577"/>
          <ac:spMkLst>
            <pc:docMk/>
            <pc:sldMk cId="3754613224" sldId="2147375611"/>
            <ac:spMk id="20" creationId="{3EBEB0AC-D407-44FD-A74F-90F67F3D13C3}"/>
          </ac:spMkLst>
        </pc:spChg>
      </pc:sldChg>
      <pc:sldChg chg="addSp modSp mod">
        <pc:chgData name="Agrawal, Shobhit SBOBNG-PTIY/BCS" userId="f130c6ba-517f-4ef4-9a2f-3bd618d170a3" providerId="ADAL" clId="{4CAECE45-344F-47C8-B7B1-A3CFFEBD8CE3}" dt="2024-08-30T14:59:06.392" v="3218" actId="33524"/>
        <pc:sldMkLst>
          <pc:docMk/>
          <pc:sldMk cId="1148838763" sldId="2147375613"/>
        </pc:sldMkLst>
        <pc:spChg chg="mod">
          <ac:chgData name="Agrawal, Shobhit SBOBNG-PTIY/BCS" userId="f130c6ba-517f-4ef4-9a2f-3bd618d170a3" providerId="ADAL" clId="{4CAECE45-344F-47C8-B7B1-A3CFFEBD8CE3}" dt="2024-08-30T14:59:06.392" v="3218" actId="33524"/>
          <ac:spMkLst>
            <pc:docMk/>
            <pc:sldMk cId="1148838763" sldId="2147375613"/>
            <ac:spMk id="11" creationId="{8CC1343B-2E39-FEFF-8FF6-46822F18B432}"/>
          </ac:spMkLst>
        </pc:spChg>
        <pc:spChg chg="mod">
          <ac:chgData name="Agrawal, Shobhit SBOBNG-PTIY/BCS" userId="f130c6ba-517f-4ef4-9a2f-3bd618d170a3" providerId="ADAL" clId="{4CAECE45-344F-47C8-B7B1-A3CFFEBD8CE3}" dt="2024-08-30T14:50:25.508" v="1653" actId="962"/>
          <ac:spMkLst>
            <pc:docMk/>
            <pc:sldMk cId="1148838763" sldId="2147375613"/>
            <ac:spMk id="12" creationId="{5A873A1A-E63F-91AE-7D43-ED0F86870147}"/>
          </ac:spMkLst>
        </pc:spChg>
        <pc:picChg chg="add mod">
          <ac:chgData name="Agrawal, Shobhit SBOBNG-PTIY/BCS" userId="f130c6ba-517f-4ef4-9a2f-3bd618d170a3" providerId="ADAL" clId="{4CAECE45-344F-47C8-B7B1-A3CFFEBD8CE3}" dt="2024-08-30T14:50:25.508" v="1652" actId="27614"/>
          <ac:picMkLst>
            <pc:docMk/>
            <pc:sldMk cId="1148838763" sldId="2147375613"/>
            <ac:picMk id="6" creationId="{B1310D58-C334-980E-ADDD-D739D63A524C}"/>
          </ac:picMkLst>
        </pc:picChg>
      </pc:sldChg>
      <pc:sldChg chg="modSp mod">
        <pc:chgData name="Agrawal, Shobhit SBOBNG-PTIY/BCS" userId="f130c6ba-517f-4ef4-9a2f-3bd618d170a3" providerId="ADAL" clId="{4CAECE45-344F-47C8-B7B1-A3CFFEBD8CE3}" dt="2024-08-30T15:27:35.375" v="4181" actId="20577"/>
        <pc:sldMkLst>
          <pc:docMk/>
          <pc:sldMk cId="3865850111" sldId="2147375614"/>
        </pc:sldMkLst>
        <pc:spChg chg="mod">
          <ac:chgData name="Agrawal, Shobhit SBOBNG-PTIY/BCS" userId="f130c6ba-517f-4ef4-9a2f-3bd618d170a3" providerId="ADAL" clId="{4CAECE45-344F-47C8-B7B1-A3CFFEBD8CE3}" dt="2024-08-30T15:27:35.375" v="4181" actId="20577"/>
          <ac:spMkLst>
            <pc:docMk/>
            <pc:sldMk cId="3865850111" sldId="2147375614"/>
            <ac:spMk id="6" creationId="{AC2F88D2-81D4-FAD4-568E-A3F495B06411}"/>
          </ac:spMkLst>
        </pc:spChg>
      </pc:sldChg>
      <pc:sldChg chg="addSp delSp modSp add mod">
        <pc:chgData name="Agrawal, Shobhit SBOBNG-PTIY/BCS" userId="f130c6ba-517f-4ef4-9a2f-3bd618d170a3" providerId="ADAL" clId="{4CAECE45-344F-47C8-B7B1-A3CFFEBD8CE3}" dt="2024-08-30T15:08:57.160" v="3428" actId="1038"/>
        <pc:sldMkLst>
          <pc:docMk/>
          <pc:sldMk cId="2941808279" sldId="2147375615"/>
        </pc:sldMkLst>
        <pc:spChg chg="mod">
          <ac:chgData name="Agrawal, Shobhit SBOBNG-PTIY/BCS" userId="f130c6ba-517f-4ef4-9a2f-3bd618d170a3" providerId="ADAL" clId="{4CAECE45-344F-47C8-B7B1-A3CFFEBD8CE3}" dt="2024-08-30T15:01:22.603" v="3227" actId="20577"/>
          <ac:spMkLst>
            <pc:docMk/>
            <pc:sldMk cId="2941808279" sldId="2147375615"/>
            <ac:spMk id="3" creationId="{CEA128C4-A0BC-A895-713C-306E7FF62894}"/>
          </ac:spMkLst>
        </pc:spChg>
        <pc:spChg chg="mod">
          <ac:chgData name="Agrawal, Shobhit SBOBNG-PTIY/BCS" userId="f130c6ba-517f-4ef4-9a2f-3bd618d170a3" providerId="ADAL" clId="{4CAECE45-344F-47C8-B7B1-A3CFFEBD8CE3}" dt="2024-08-30T15:07:11.216" v="3379" actId="6549"/>
          <ac:spMkLst>
            <pc:docMk/>
            <pc:sldMk cId="2941808279" sldId="2147375615"/>
            <ac:spMk id="11" creationId="{DE9F1BE0-7910-FA1B-DCE8-56EFD1E4FC09}"/>
          </ac:spMkLst>
        </pc:spChg>
        <pc:picChg chg="del">
          <ac:chgData name="Agrawal, Shobhit SBOBNG-PTIY/BCS" userId="f130c6ba-517f-4ef4-9a2f-3bd618d170a3" providerId="ADAL" clId="{4CAECE45-344F-47C8-B7B1-A3CFFEBD8CE3}" dt="2024-08-30T15:08:05.500" v="3383" actId="478"/>
          <ac:picMkLst>
            <pc:docMk/>
            <pc:sldMk cId="2941808279" sldId="2147375615"/>
            <ac:picMk id="4098" creationId="{F6552E51-5EEA-5A6C-23C2-0DCB9A035F87}"/>
          </ac:picMkLst>
        </pc:picChg>
        <pc:picChg chg="add mod">
          <ac:chgData name="Agrawal, Shobhit SBOBNG-PTIY/BCS" userId="f130c6ba-517f-4ef4-9a2f-3bd618d170a3" providerId="ADAL" clId="{4CAECE45-344F-47C8-B7B1-A3CFFEBD8CE3}" dt="2024-08-30T15:08:57.160" v="3428" actId="1038"/>
          <ac:picMkLst>
            <pc:docMk/>
            <pc:sldMk cId="2941808279" sldId="2147375615"/>
            <ac:picMk id="13314" creationId="{AA51102A-968E-7B84-4350-75F047B139CA}"/>
          </ac:picMkLst>
        </pc:picChg>
      </pc:sldChg>
      <pc:sldChg chg="addSp delSp modSp add mod">
        <pc:chgData name="Agrawal, Shobhit SBOBNG-PTIY/BCS" userId="f130c6ba-517f-4ef4-9a2f-3bd618d170a3" providerId="ADAL" clId="{4CAECE45-344F-47C8-B7B1-A3CFFEBD8CE3}" dt="2024-08-30T15:18:23.463" v="3836" actId="20577"/>
        <pc:sldMkLst>
          <pc:docMk/>
          <pc:sldMk cId="2936174895" sldId="2147375616"/>
        </pc:sldMkLst>
        <pc:spChg chg="mod">
          <ac:chgData name="Agrawal, Shobhit SBOBNG-PTIY/BCS" userId="f130c6ba-517f-4ef4-9a2f-3bd618d170a3" providerId="ADAL" clId="{4CAECE45-344F-47C8-B7B1-A3CFFEBD8CE3}" dt="2024-08-30T15:18:23.463" v="3836" actId="20577"/>
          <ac:spMkLst>
            <pc:docMk/>
            <pc:sldMk cId="2936174895" sldId="2147375616"/>
            <ac:spMk id="3" creationId="{CEA128C4-A0BC-A895-713C-306E7FF62894}"/>
          </ac:spMkLst>
        </pc:spChg>
        <pc:spChg chg="mod">
          <ac:chgData name="Agrawal, Shobhit SBOBNG-PTIY/BCS" userId="f130c6ba-517f-4ef4-9a2f-3bd618d170a3" providerId="ADAL" clId="{4CAECE45-344F-47C8-B7B1-A3CFFEBD8CE3}" dt="2024-08-30T15:11:40.573" v="3497" actId="20577"/>
          <ac:spMkLst>
            <pc:docMk/>
            <pc:sldMk cId="2936174895" sldId="2147375616"/>
            <ac:spMk id="11" creationId="{DE9F1BE0-7910-FA1B-DCE8-56EFD1E4FC09}"/>
          </ac:spMkLst>
        </pc:spChg>
        <pc:picChg chg="add mod">
          <ac:chgData name="Agrawal, Shobhit SBOBNG-PTIY/BCS" userId="f130c6ba-517f-4ef4-9a2f-3bd618d170a3" providerId="ADAL" clId="{4CAECE45-344F-47C8-B7B1-A3CFFEBD8CE3}" dt="2024-08-30T15:12:34.778" v="3500" actId="1076"/>
          <ac:picMkLst>
            <pc:docMk/>
            <pc:sldMk cId="2936174895" sldId="2147375616"/>
            <ac:picMk id="5" creationId="{7CA73A26-4399-CA90-FE4E-16FEB35BBEEF}"/>
          </ac:picMkLst>
        </pc:picChg>
        <pc:picChg chg="del">
          <ac:chgData name="Agrawal, Shobhit SBOBNG-PTIY/BCS" userId="f130c6ba-517f-4ef4-9a2f-3bd618d170a3" providerId="ADAL" clId="{4CAECE45-344F-47C8-B7B1-A3CFFEBD8CE3}" dt="2024-08-30T15:09:02.704" v="3429" actId="478"/>
          <ac:picMkLst>
            <pc:docMk/>
            <pc:sldMk cId="2936174895" sldId="2147375616"/>
            <ac:picMk id="4098" creationId="{F6552E51-5EEA-5A6C-23C2-0DCB9A035F87}"/>
          </ac:picMkLst>
        </pc:picChg>
      </pc:sldChg>
      <pc:sldChg chg="addSp delSp modSp add mod">
        <pc:chgData name="Agrawal, Shobhit SBOBNG-PTIY/BCS" userId="f130c6ba-517f-4ef4-9a2f-3bd618d170a3" providerId="ADAL" clId="{4CAECE45-344F-47C8-B7B1-A3CFFEBD8CE3}" dt="2024-08-30T15:24:58.372" v="4035" actId="1076"/>
        <pc:sldMkLst>
          <pc:docMk/>
          <pc:sldMk cId="2018031460" sldId="2147375617"/>
        </pc:sldMkLst>
        <pc:spChg chg="mod">
          <ac:chgData name="Agrawal, Shobhit SBOBNG-PTIY/BCS" userId="f130c6ba-517f-4ef4-9a2f-3bd618d170a3" providerId="ADAL" clId="{4CAECE45-344F-47C8-B7B1-A3CFFEBD8CE3}" dt="2024-08-30T15:18:52.736" v="3838" actId="20577"/>
          <ac:spMkLst>
            <pc:docMk/>
            <pc:sldMk cId="2018031460" sldId="2147375617"/>
            <ac:spMk id="3" creationId="{CEA128C4-A0BC-A895-713C-306E7FF62894}"/>
          </ac:spMkLst>
        </pc:spChg>
        <pc:spChg chg="mod">
          <ac:chgData name="Agrawal, Shobhit SBOBNG-PTIY/BCS" userId="f130c6ba-517f-4ef4-9a2f-3bd618d170a3" providerId="ADAL" clId="{4CAECE45-344F-47C8-B7B1-A3CFFEBD8CE3}" dt="2024-08-30T15:24:36.801" v="4032" actId="20577"/>
          <ac:spMkLst>
            <pc:docMk/>
            <pc:sldMk cId="2018031460" sldId="2147375617"/>
            <ac:spMk id="11" creationId="{DE9F1BE0-7910-FA1B-DCE8-56EFD1E4FC09}"/>
          </ac:spMkLst>
        </pc:spChg>
        <pc:picChg chg="add mod">
          <ac:chgData name="Agrawal, Shobhit SBOBNG-PTIY/BCS" userId="f130c6ba-517f-4ef4-9a2f-3bd618d170a3" providerId="ADAL" clId="{4CAECE45-344F-47C8-B7B1-A3CFFEBD8CE3}" dt="2024-08-30T15:24:58.372" v="4035" actId="1076"/>
          <ac:picMkLst>
            <pc:docMk/>
            <pc:sldMk cId="2018031460" sldId="2147375617"/>
            <ac:picMk id="5" creationId="{255ECE4E-AD51-47FC-BD48-38454B95FE09}"/>
          </ac:picMkLst>
        </pc:picChg>
        <pc:picChg chg="add del">
          <ac:chgData name="Agrawal, Shobhit SBOBNG-PTIY/BCS" userId="f130c6ba-517f-4ef4-9a2f-3bd618d170a3" providerId="ADAL" clId="{4CAECE45-344F-47C8-B7B1-A3CFFEBD8CE3}" dt="2024-08-30T15:23:53.884" v="4022" actId="478"/>
          <ac:picMkLst>
            <pc:docMk/>
            <pc:sldMk cId="2018031460" sldId="2147375617"/>
            <ac:picMk id="4098" creationId="{F6552E51-5EEA-5A6C-23C2-0DCB9A035F87}"/>
          </ac:picMkLst>
        </pc:picChg>
      </pc:sldChg>
      <pc:sldChg chg="addSp delSp modSp add mod">
        <pc:chgData name="Agrawal, Shobhit SBOBNG-PTIY/BCS" userId="f130c6ba-517f-4ef4-9a2f-3bd618d170a3" providerId="ADAL" clId="{4CAECE45-344F-47C8-B7B1-A3CFFEBD8CE3}" dt="2024-08-30T15:18:13.463" v="3834" actId="1076"/>
        <pc:sldMkLst>
          <pc:docMk/>
          <pc:sldMk cId="2805887305" sldId="2147375618"/>
        </pc:sldMkLst>
        <pc:spChg chg="mod">
          <ac:chgData name="Agrawal, Shobhit SBOBNG-PTIY/BCS" userId="f130c6ba-517f-4ef4-9a2f-3bd618d170a3" providerId="ADAL" clId="{4CAECE45-344F-47C8-B7B1-A3CFFEBD8CE3}" dt="2024-08-30T15:13:06.785" v="3507" actId="20577"/>
          <ac:spMkLst>
            <pc:docMk/>
            <pc:sldMk cId="2805887305" sldId="2147375618"/>
            <ac:spMk id="3" creationId="{CEA128C4-A0BC-A895-713C-306E7FF62894}"/>
          </ac:spMkLst>
        </pc:spChg>
        <pc:spChg chg="mod">
          <ac:chgData name="Agrawal, Shobhit SBOBNG-PTIY/BCS" userId="f130c6ba-517f-4ef4-9a2f-3bd618d170a3" providerId="ADAL" clId="{4CAECE45-344F-47C8-B7B1-A3CFFEBD8CE3}" dt="2024-08-30T15:17:02.132" v="3829"/>
          <ac:spMkLst>
            <pc:docMk/>
            <pc:sldMk cId="2805887305" sldId="2147375618"/>
            <ac:spMk id="11" creationId="{DE9F1BE0-7910-FA1B-DCE8-56EFD1E4FC09}"/>
          </ac:spMkLst>
        </pc:spChg>
        <pc:picChg chg="del">
          <ac:chgData name="Agrawal, Shobhit SBOBNG-PTIY/BCS" userId="f130c6ba-517f-4ef4-9a2f-3bd618d170a3" providerId="ADAL" clId="{4CAECE45-344F-47C8-B7B1-A3CFFEBD8CE3}" dt="2024-08-30T15:17:52.718" v="3830" actId="478"/>
          <ac:picMkLst>
            <pc:docMk/>
            <pc:sldMk cId="2805887305" sldId="2147375618"/>
            <ac:picMk id="13314" creationId="{AA51102A-968E-7B84-4350-75F047B139CA}"/>
          </ac:picMkLst>
        </pc:picChg>
        <pc:picChg chg="add mod">
          <ac:chgData name="Agrawal, Shobhit SBOBNG-PTIY/BCS" userId="f130c6ba-517f-4ef4-9a2f-3bd618d170a3" providerId="ADAL" clId="{4CAECE45-344F-47C8-B7B1-A3CFFEBD8CE3}" dt="2024-08-30T15:18:13.463" v="3834" actId="1076"/>
          <ac:picMkLst>
            <pc:docMk/>
            <pc:sldMk cId="2805887305" sldId="2147375618"/>
            <ac:picMk id="14338" creationId="{A1AD81D1-E21C-CA78-836E-28AE4F1FCD5C}"/>
          </ac:picMkLst>
        </pc:picChg>
      </pc:sldChg>
      <pc:sldChg chg="delSp modSp add mod">
        <pc:chgData name="Agrawal, Shobhit SBOBNG-PTIY/BCS" userId="f130c6ba-517f-4ef4-9a2f-3bd618d170a3" providerId="ADAL" clId="{4CAECE45-344F-47C8-B7B1-A3CFFEBD8CE3}" dt="2024-08-30T15:35:22.762" v="4204" actId="20577"/>
        <pc:sldMkLst>
          <pc:docMk/>
          <pc:sldMk cId="3057652924" sldId="2147375619"/>
        </pc:sldMkLst>
        <pc:spChg chg="mod">
          <ac:chgData name="Agrawal, Shobhit SBOBNG-PTIY/BCS" userId="f130c6ba-517f-4ef4-9a2f-3bd618d170a3" providerId="ADAL" clId="{4CAECE45-344F-47C8-B7B1-A3CFFEBD8CE3}" dt="2024-08-30T15:25:24.764" v="4047" actId="20577"/>
          <ac:spMkLst>
            <pc:docMk/>
            <pc:sldMk cId="3057652924" sldId="2147375619"/>
            <ac:spMk id="3" creationId="{CEA128C4-A0BC-A895-713C-306E7FF62894}"/>
          </ac:spMkLst>
        </pc:spChg>
        <pc:spChg chg="mod">
          <ac:chgData name="Agrawal, Shobhit SBOBNG-PTIY/BCS" userId="f130c6ba-517f-4ef4-9a2f-3bd618d170a3" providerId="ADAL" clId="{4CAECE45-344F-47C8-B7B1-A3CFFEBD8CE3}" dt="2024-08-30T15:35:22.762" v="4204" actId="20577"/>
          <ac:spMkLst>
            <pc:docMk/>
            <pc:sldMk cId="3057652924" sldId="2147375619"/>
            <ac:spMk id="11" creationId="{DE9F1BE0-7910-FA1B-DCE8-56EFD1E4FC09}"/>
          </ac:spMkLst>
        </pc:spChg>
        <pc:picChg chg="del">
          <ac:chgData name="Agrawal, Shobhit SBOBNG-PTIY/BCS" userId="f130c6ba-517f-4ef4-9a2f-3bd618d170a3" providerId="ADAL" clId="{4CAECE45-344F-47C8-B7B1-A3CFFEBD8CE3}" dt="2024-08-30T15:25:42.246" v="4054" actId="478"/>
          <ac:picMkLst>
            <pc:docMk/>
            <pc:sldMk cId="3057652924" sldId="2147375619"/>
            <ac:picMk id="6150" creationId="{4AC0F7F0-54DA-5E4B-800F-66CD0C7A8DD5}"/>
          </ac:picMkLst>
        </pc:picChg>
      </pc:sldChg>
      <pc:sldChg chg="delSp modSp add mod">
        <pc:chgData name="Agrawal, Shobhit SBOBNG-PTIY/BCS" userId="f130c6ba-517f-4ef4-9a2f-3bd618d170a3" providerId="ADAL" clId="{4CAECE45-344F-47C8-B7B1-A3CFFEBD8CE3}" dt="2024-08-30T15:36:56.178" v="4214" actId="20577"/>
        <pc:sldMkLst>
          <pc:docMk/>
          <pc:sldMk cId="2686041220" sldId="2147375620"/>
        </pc:sldMkLst>
        <pc:spChg chg="mod">
          <ac:chgData name="Agrawal, Shobhit SBOBNG-PTIY/BCS" userId="f130c6ba-517f-4ef4-9a2f-3bd618d170a3" providerId="ADAL" clId="{4CAECE45-344F-47C8-B7B1-A3CFFEBD8CE3}" dt="2024-08-30T15:25:29.418" v="4049" actId="20577"/>
          <ac:spMkLst>
            <pc:docMk/>
            <pc:sldMk cId="2686041220" sldId="2147375620"/>
            <ac:spMk id="3" creationId="{CEA128C4-A0BC-A895-713C-306E7FF62894}"/>
          </ac:spMkLst>
        </pc:spChg>
        <pc:spChg chg="mod">
          <ac:chgData name="Agrawal, Shobhit SBOBNG-PTIY/BCS" userId="f130c6ba-517f-4ef4-9a2f-3bd618d170a3" providerId="ADAL" clId="{4CAECE45-344F-47C8-B7B1-A3CFFEBD8CE3}" dt="2024-08-30T15:36:56.178" v="4214" actId="20577"/>
          <ac:spMkLst>
            <pc:docMk/>
            <pc:sldMk cId="2686041220" sldId="2147375620"/>
            <ac:spMk id="11" creationId="{DE9F1BE0-7910-FA1B-DCE8-56EFD1E4FC09}"/>
          </ac:spMkLst>
        </pc:spChg>
        <pc:picChg chg="del">
          <ac:chgData name="Agrawal, Shobhit SBOBNG-PTIY/BCS" userId="f130c6ba-517f-4ef4-9a2f-3bd618d170a3" providerId="ADAL" clId="{4CAECE45-344F-47C8-B7B1-A3CFFEBD8CE3}" dt="2024-08-30T15:25:45.144" v="4055" actId="478"/>
          <ac:picMkLst>
            <pc:docMk/>
            <pc:sldMk cId="2686041220" sldId="2147375620"/>
            <ac:picMk id="6150" creationId="{4AC0F7F0-54DA-5E4B-800F-66CD0C7A8DD5}"/>
          </ac:picMkLst>
        </pc:picChg>
      </pc:sldChg>
      <pc:sldChg chg="addSp delSp modSp add mod">
        <pc:chgData name="Agrawal, Shobhit SBOBNG-PTIY/BCS" userId="f130c6ba-517f-4ef4-9a2f-3bd618d170a3" providerId="ADAL" clId="{4CAECE45-344F-47C8-B7B1-A3CFFEBD8CE3}" dt="2024-08-30T15:38:18.025" v="4224" actId="20577"/>
        <pc:sldMkLst>
          <pc:docMk/>
          <pc:sldMk cId="339792612" sldId="2147375621"/>
        </pc:sldMkLst>
        <pc:spChg chg="add">
          <ac:chgData name="Agrawal, Shobhit SBOBNG-PTIY/BCS" userId="f130c6ba-517f-4ef4-9a2f-3bd618d170a3" providerId="ADAL" clId="{4CAECE45-344F-47C8-B7B1-A3CFFEBD8CE3}" dt="2024-08-30T15:37:59.971" v="4215"/>
          <ac:spMkLst>
            <pc:docMk/>
            <pc:sldMk cId="339792612" sldId="2147375621"/>
            <ac:spMk id="2" creationId="{393CCFEC-E947-9824-BFFA-3A6765DB7E2B}"/>
          </ac:spMkLst>
        </pc:spChg>
        <pc:spChg chg="mod">
          <ac:chgData name="Agrawal, Shobhit SBOBNG-PTIY/BCS" userId="f130c6ba-517f-4ef4-9a2f-3bd618d170a3" providerId="ADAL" clId="{4CAECE45-344F-47C8-B7B1-A3CFFEBD8CE3}" dt="2024-08-30T15:25:32.883" v="4051" actId="20577"/>
          <ac:spMkLst>
            <pc:docMk/>
            <pc:sldMk cId="339792612" sldId="2147375621"/>
            <ac:spMk id="3" creationId="{CEA128C4-A0BC-A895-713C-306E7FF62894}"/>
          </ac:spMkLst>
        </pc:spChg>
        <pc:spChg chg="add">
          <ac:chgData name="Agrawal, Shobhit SBOBNG-PTIY/BCS" userId="f130c6ba-517f-4ef4-9a2f-3bd618d170a3" providerId="ADAL" clId="{4CAECE45-344F-47C8-B7B1-A3CFFEBD8CE3}" dt="2024-08-30T15:38:06.624" v="4216"/>
          <ac:spMkLst>
            <pc:docMk/>
            <pc:sldMk cId="339792612" sldId="2147375621"/>
            <ac:spMk id="6" creationId="{A9CBE5BE-C6D0-9DFA-270D-7079A80F7E3B}"/>
          </ac:spMkLst>
        </pc:spChg>
        <pc:spChg chg="mod">
          <ac:chgData name="Agrawal, Shobhit SBOBNG-PTIY/BCS" userId="f130c6ba-517f-4ef4-9a2f-3bd618d170a3" providerId="ADAL" clId="{4CAECE45-344F-47C8-B7B1-A3CFFEBD8CE3}" dt="2024-08-30T15:38:18.025" v="4224" actId="20577"/>
          <ac:spMkLst>
            <pc:docMk/>
            <pc:sldMk cId="339792612" sldId="2147375621"/>
            <ac:spMk id="11" creationId="{DE9F1BE0-7910-FA1B-DCE8-56EFD1E4FC09}"/>
          </ac:spMkLst>
        </pc:spChg>
        <pc:picChg chg="del">
          <ac:chgData name="Agrawal, Shobhit SBOBNG-PTIY/BCS" userId="f130c6ba-517f-4ef4-9a2f-3bd618d170a3" providerId="ADAL" clId="{4CAECE45-344F-47C8-B7B1-A3CFFEBD8CE3}" dt="2024-08-30T15:25:46.847" v="4056" actId="478"/>
          <ac:picMkLst>
            <pc:docMk/>
            <pc:sldMk cId="339792612" sldId="2147375621"/>
            <ac:picMk id="6150" creationId="{4AC0F7F0-54DA-5E4B-800F-66CD0C7A8DD5}"/>
          </ac:picMkLst>
        </pc:picChg>
      </pc:sldChg>
      <pc:sldChg chg="delSp modSp add mod">
        <pc:chgData name="Agrawal, Shobhit SBOBNG-PTIY/BCS" userId="f130c6ba-517f-4ef4-9a2f-3bd618d170a3" providerId="ADAL" clId="{4CAECE45-344F-47C8-B7B1-A3CFFEBD8CE3}" dt="2024-08-30T15:35:10.379" v="4198" actId="21"/>
        <pc:sldMkLst>
          <pc:docMk/>
          <pc:sldMk cId="3796552657" sldId="2147375622"/>
        </pc:sldMkLst>
        <pc:spChg chg="mod">
          <ac:chgData name="Agrawal, Shobhit SBOBNG-PTIY/BCS" userId="f130c6ba-517f-4ef4-9a2f-3bd618d170a3" providerId="ADAL" clId="{4CAECE45-344F-47C8-B7B1-A3CFFEBD8CE3}" dt="2024-08-30T15:25:36.352" v="4053" actId="20577"/>
          <ac:spMkLst>
            <pc:docMk/>
            <pc:sldMk cId="3796552657" sldId="2147375622"/>
            <ac:spMk id="3" creationId="{CEA128C4-A0BC-A895-713C-306E7FF62894}"/>
          </ac:spMkLst>
        </pc:spChg>
        <pc:spChg chg="mod">
          <ac:chgData name="Agrawal, Shobhit SBOBNG-PTIY/BCS" userId="f130c6ba-517f-4ef4-9a2f-3bd618d170a3" providerId="ADAL" clId="{4CAECE45-344F-47C8-B7B1-A3CFFEBD8CE3}" dt="2024-08-30T15:35:10.379" v="4198" actId="21"/>
          <ac:spMkLst>
            <pc:docMk/>
            <pc:sldMk cId="3796552657" sldId="2147375622"/>
            <ac:spMk id="11" creationId="{DE9F1BE0-7910-FA1B-DCE8-56EFD1E4FC09}"/>
          </ac:spMkLst>
        </pc:spChg>
        <pc:picChg chg="del">
          <ac:chgData name="Agrawal, Shobhit SBOBNG-PTIY/BCS" userId="f130c6ba-517f-4ef4-9a2f-3bd618d170a3" providerId="ADAL" clId="{4CAECE45-344F-47C8-B7B1-A3CFFEBD8CE3}" dt="2024-08-30T15:25:48.432" v="4057" actId="478"/>
          <ac:picMkLst>
            <pc:docMk/>
            <pc:sldMk cId="3796552657" sldId="2147375622"/>
            <ac:picMk id="6150" creationId="{4AC0F7F0-54DA-5E4B-800F-66CD0C7A8DD5}"/>
          </ac:picMkLst>
        </pc:picChg>
      </pc:sldChg>
      <pc:sldChg chg="delSp modSp add mod">
        <pc:chgData name="Agrawal, Shobhit SBOBNG-PTIY/BCS" userId="f130c6ba-517f-4ef4-9a2f-3bd618d170a3" providerId="ADAL" clId="{4CAECE45-344F-47C8-B7B1-A3CFFEBD8CE3}" dt="2024-08-30T15:26:06.058" v="4064" actId="478"/>
        <pc:sldMkLst>
          <pc:docMk/>
          <pc:sldMk cId="3955777602" sldId="2147375623"/>
        </pc:sldMkLst>
        <pc:spChg chg="mod">
          <ac:chgData name="Agrawal, Shobhit SBOBNG-PTIY/BCS" userId="f130c6ba-517f-4ef4-9a2f-3bd618d170a3" providerId="ADAL" clId="{4CAECE45-344F-47C8-B7B1-A3CFFEBD8CE3}" dt="2024-08-30T15:26:04.302" v="4063" actId="20577"/>
          <ac:spMkLst>
            <pc:docMk/>
            <pc:sldMk cId="3955777602" sldId="2147375623"/>
            <ac:spMk id="3" creationId="{CEA128C4-A0BC-A895-713C-306E7FF62894}"/>
          </ac:spMkLst>
        </pc:spChg>
        <pc:picChg chg="del">
          <ac:chgData name="Agrawal, Shobhit SBOBNG-PTIY/BCS" userId="f130c6ba-517f-4ef4-9a2f-3bd618d170a3" providerId="ADAL" clId="{4CAECE45-344F-47C8-B7B1-A3CFFEBD8CE3}" dt="2024-08-30T15:26:06.058" v="4064" actId="478"/>
          <ac:picMkLst>
            <pc:docMk/>
            <pc:sldMk cId="3955777602" sldId="2147375623"/>
            <ac:picMk id="10242" creationId="{716395F6-5BF1-E85E-614A-201A9121F52A}"/>
          </ac:picMkLst>
        </pc:picChg>
      </pc:sldChg>
      <pc:sldChg chg="delSp modSp add mod">
        <pc:chgData name="Agrawal, Shobhit SBOBNG-PTIY/BCS" userId="f130c6ba-517f-4ef4-9a2f-3bd618d170a3" providerId="ADAL" clId="{4CAECE45-344F-47C8-B7B1-A3CFFEBD8CE3}" dt="2024-08-30T15:26:27.304" v="4075" actId="20577"/>
        <pc:sldMkLst>
          <pc:docMk/>
          <pc:sldMk cId="586367436" sldId="2147375624"/>
        </pc:sldMkLst>
        <pc:spChg chg="mod">
          <ac:chgData name="Agrawal, Shobhit SBOBNG-PTIY/BCS" userId="f130c6ba-517f-4ef4-9a2f-3bd618d170a3" providerId="ADAL" clId="{4CAECE45-344F-47C8-B7B1-A3CFFEBD8CE3}" dt="2024-08-30T15:26:27.304" v="4075" actId="20577"/>
          <ac:spMkLst>
            <pc:docMk/>
            <pc:sldMk cId="586367436" sldId="2147375624"/>
            <ac:spMk id="3" creationId="{CEA128C4-A0BC-A895-713C-306E7FF62894}"/>
          </ac:spMkLst>
        </pc:spChg>
        <pc:picChg chg="del">
          <ac:chgData name="Agrawal, Shobhit SBOBNG-PTIY/BCS" userId="f130c6ba-517f-4ef4-9a2f-3bd618d170a3" providerId="ADAL" clId="{4CAECE45-344F-47C8-B7B1-A3CFFEBD8CE3}" dt="2024-08-30T15:26:10.885" v="4067" actId="478"/>
          <ac:picMkLst>
            <pc:docMk/>
            <pc:sldMk cId="586367436" sldId="2147375624"/>
            <ac:picMk id="10242" creationId="{716395F6-5BF1-E85E-614A-201A9121F52A}"/>
          </ac:picMkLst>
        </pc:picChg>
      </pc:sldChg>
      <pc:sldChg chg="delSp modSp add mod">
        <pc:chgData name="Agrawal, Shobhit SBOBNG-PTIY/BCS" userId="f130c6ba-517f-4ef4-9a2f-3bd618d170a3" providerId="ADAL" clId="{4CAECE45-344F-47C8-B7B1-A3CFFEBD8CE3}" dt="2024-08-30T15:26:31.872" v="4077" actId="20577"/>
        <pc:sldMkLst>
          <pc:docMk/>
          <pc:sldMk cId="698941007" sldId="2147375625"/>
        </pc:sldMkLst>
        <pc:spChg chg="mod">
          <ac:chgData name="Agrawal, Shobhit SBOBNG-PTIY/BCS" userId="f130c6ba-517f-4ef4-9a2f-3bd618d170a3" providerId="ADAL" clId="{4CAECE45-344F-47C8-B7B1-A3CFFEBD8CE3}" dt="2024-08-30T15:26:31.872" v="4077" actId="20577"/>
          <ac:spMkLst>
            <pc:docMk/>
            <pc:sldMk cId="698941007" sldId="2147375625"/>
            <ac:spMk id="3" creationId="{CEA128C4-A0BC-A895-713C-306E7FF62894}"/>
          </ac:spMkLst>
        </pc:spChg>
        <pc:picChg chg="del">
          <ac:chgData name="Agrawal, Shobhit SBOBNG-PTIY/BCS" userId="f130c6ba-517f-4ef4-9a2f-3bd618d170a3" providerId="ADAL" clId="{4CAECE45-344F-47C8-B7B1-A3CFFEBD8CE3}" dt="2024-08-30T15:26:15.841" v="4070" actId="478"/>
          <ac:picMkLst>
            <pc:docMk/>
            <pc:sldMk cId="698941007" sldId="2147375625"/>
            <ac:picMk id="10242" creationId="{716395F6-5BF1-E85E-614A-201A9121F52A}"/>
          </ac:picMkLst>
        </pc:picChg>
      </pc:sldChg>
      <pc:sldChg chg="delSp modSp add mod">
        <pc:chgData name="Agrawal, Shobhit SBOBNG-PTIY/BCS" userId="f130c6ba-517f-4ef4-9a2f-3bd618d170a3" providerId="ADAL" clId="{4CAECE45-344F-47C8-B7B1-A3CFFEBD8CE3}" dt="2024-08-30T15:26:36.089" v="4079" actId="20577"/>
        <pc:sldMkLst>
          <pc:docMk/>
          <pc:sldMk cId="1021500342" sldId="2147375626"/>
        </pc:sldMkLst>
        <pc:spChg chg="mod">
          <ac:chgData name="Agrawal, Shobhit SBOBNG-PTIY/BCS" userId="f130c6ba-517f-4ef4-9a2f-3bd618d170a3" providerId="ADAL" clId="{4CAECE45-344F-47C8-B7B1-A3CFFEBD8CE3}" dt="2024-08-30T15:26:36.089" v="4079" actId="20577"/>
          <ac:spMkLst>
            <pc:docMk/>
            <pc:sldMk cId="1021500342" sldId="2147375626"/>
            <ac:spMk id="3" creationId="{CEA128C4-A0BC-A895-713C-306E7FF62894}"/>
          </ac:spMkLst>
        </pc:spChg>
        <pc:picChg chg="del">
          <ac:chgData name="Agrawal, Shobhit SBOBNG-PTIY/BCS" userId="f130c6ba-517f-4ef4-9a2f-3bd618d170a3" providerId="ADAL" clId="{4CAECE45-344F-47C8-B7B1-A3CFFEBD8CE3}" dt="2024-08-30T15:26:20.716" v="4073" actId="478"/>
          <ac:picMkLst>
            <pc:docMk/>
            <pc:sldMk cId="1021500342" sldId="2147375626"/>
            <ac:picMk id="10242" creationId="{716395F6-5BF1-E85E-614A-201A9121F52A}"/>
          </ac:picMkLst>
        </pc:picChg>
      </pc:sld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1/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41.jpe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44.jpe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45.jpe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6.jpe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7.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9.jpe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50.jpe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7.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22.emf"/></Relationships>
</file>

<file path=ppt/slides/_rels/slide29.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55.jpe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22.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22.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hobhit Agrawa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in a suit and tie&#10;&#10;Description automatically generated">
            <a:extLst>
              <a:ext uri="{FF2B5EF4-FFF2-40B4-BE49-F238E27FC236}">
                <a16:creationId xmlns:a16="http://schemas.microsoft.com/office/drawing/2014/main" id="{F769E610-8AA9-B53C-4EB4-D94DEAA34B51}"/>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730490" y="725593"/>
            <a:ext cx="4055110" cy="5406813"/>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7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oftware Requirements Specifications Document (SRS)</a:t>
            </a:r>
          </a:p>
          <a:p>
            <a:r>
              <a:rPr lang="en-GB" sz="2000" dirty="0"/>
              <a:t>SRS document serves as a blueprint for software development, detailing both functional and non-functional requirements. It ensures clear communication among stakeholders, guides the development process, and helps prevent project scope creep and misunderstandings.</a:t>
            </a:r>
          </a:p>
          <a:p>
            <a:r>
              <a:rPr lang="en-GB" sz="2000" dirty="0"/>
              <a:t>It is used to define the functional and non-functional requirements for developing smart grid technologies, renewable energy systems, and energy management software.</a:t>
            </a:r>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255ECE4E-AD51-47FC-BD48-38454B95FE09}"/>
              </a:ext>
            </a:extLst>
          </p:cNvPr>
          <p:cNvPicPr>
            <a:picLocks noChangeAspect="1"/>
          </p:cNvPicPr>
          <p:nvPr/>
        </p:nvPicPr>
        <p:blipFill>
          <a:blip r:embed="rId7"/>
          <a:stretch>
            <a:fillRect/>
          </a:stretch>
        </p:blipFill>
        <p:spPr>
          <a:xfrm>
            <a:off x="6647787" y="2058668"/>
            <a:ext cx="4856730" cy="3680890"/>
          </a:xfrm>
          <a:prstGeom prst="rect">
            <a:avLst/>
          </a:prstGeom>
        </p:spPr>
      </p:pic>
    </p:spTree>
    <p:extLst>
      <p:ext uri="{BB962C8B-B14F-4D97-AF65-F5344CB8AC3E}">
        <p14:creationId xmlns:p14="http://schemas.microsoft.com/office/powerpoint/2010/main" val="20180314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fosters a growth mindset by encouraging continuous learning and innovation among employees, promoting a culture where challenges are embraced and failures are seen as opportunities for growth.</a:t>
            </a:r>
            <a:endParaRPr lang="en-US" sz="2000" dirty="0"/>
          </a:p>
          <a:p>
            <a:pPr marL="0" indent="0">
              <a:buNone/>
            </a:pPr>
            <a:endParaRPr lang="en-US" sz="2000" dirty="0"/>
          </a:p>
          <a:p>
            <a:pPr marL="0" indent="0">
              <a:buNone/>
            </a:pPr>
            <a:endParaRPr lang="en-US" sz="2000" dirty="0"/>
          </a:p>
          <a:p>
            <a:pPr marL="0" indent="0">
              <a:buNone/>
            </a:pPr>
            <a:r>
              <a:rPr lang="en-GB" sz="2000" dirty="0"/>
              <a:t>By adopting a growth mindset, Shell enhances its adaptability and problem-solving capabilities, leading to greater innovation and resilience in a rapidly evolving energy sector.</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The Benefits of a Growth Mindset - Bath &amp; Kitchen Business Group">
            <a:extLst>
              <a:ext uri="{FF2B5EF4-FFF2-40B4-BE49-F238E27FC236}">
                <a16:creationId xmlns:a16="http://schemas.microsoft.com/office/drawing/2014/main" id="{B8F5738F-CEB3-29B1-E5A9-3194BC9547D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39339" y="2527691"/>
            <a:ext cx="4873625" cy="27428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uses the Power-Interest Grid to strategically manage stakeholders by identifying their level of influence and interest, ensuring that key stakeholders are engaged and their needs are addressed effectively.</a:t>
            </a:r>
            <a:endParaRPr lang="en-US" sz="2000" dirty="0"/>
          </a:p>
          <a:p>
            <a:pPr marL="0" indent="0">
              <a:buNone/>
            </a:pPr>
            <a:endParaRPr lang="en-US" sz="2000" dirty="0"/>
          </a:p>
          <a:p>
            <a:pPr marL="0" indent="0">
              <a:buNone/>
            </a:pPr>
            <a:r>
              <a:rPr lang="en-GB" sz="2000" dirty="0"/>
              <a:t>By applying the Power-Interest Grid, Shell can prioritize resources and communication efforts, leading to better stakeholder relationships, smoother project execution, and enhanced support for its initiative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3" name="Picture 3" descr="Creative Project Management, Agile Leadership - inspiring.pm">
            <a:extLst>
              <a:ext uri="{FF2B5EF4-FFF2-40B4-BE49-F238E27FC236}">
                <a16:creationId xmlns:a16="http://schemas.microsoft.com/office/drawing/2014/main" id="{2676FA03-5458-3F43-7DC6-9C18E7767DE3}"/>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b="16148"/>
          <a:stretch/>
        </p:blipFill>
        <p:spPr bwMode="auto">
          <a:xfrm>
            <a:off x="7150146" y="1954329"/>
            <a:ext cx="3710894" cy="3889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likely implements the elements of an effective presentation by thoroughly </a:t>
            </a:r>
            <a:r>
              <a:rPr lang="en-GB" sz="2000" dirty="0" err="1"/>
              <a:t>analyzing</a:t>
            </a:r>
            <a:r>
              <a:rPr lang="en-GB" sz="2000" dirty="0"/>
              <a:t> their audience, organizing well-researched content, designing clear and professional slides, and delivering messages persuasively to ensure clarity and engagement.</a:t>
            </a:r>
            <a:endParaRPr lang="en-US" sz="2000" dirty="0"/>
          </a:p>
          <a:p>
            <a:pPr marL="0" indent="0">
              <a:buNone/>
            </a:pPr>
            <a:endParaRPr lang="en-US" sz="2000" dirty="0"/>
          </a:p>
          <a:p>
            <a:pPr marL="0" indent="0">
              <a:buNone/>
            </a:pPr>
            <a:r>
              <a:rPr lang="en-GB" sz="2000" dirty="0"/>
              <a:t>By mastering effective presentation skills, Shell can communicate complex information more clearly, foster better stakeholder relationships, and drive successful project approvals and collaboration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50" name="Picture 6" descr="High Impact Presentations Skills | Whitepaper - What are the 6 elements ...">
            <a:extLst>
              <a:ext uri="{FF2B5EF4-FFF2-40B4-BE49-F238E27FC236}">
                <a16:creationId xmlns:a16="http://schemas.microsoft.com/office/drawing/2014/main" id="{4AC0F7F0-54DA-5E4B-800F-66CD0C7A8D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26605" y="1994113"/>
            <a:ext cx="409575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integrates learning into its SDLC by continuously updating best practices and incorporating feedback loops to enhance software quality and efficiency.</a:t>
            </a:r>
          </a:p>
          <a:p>
            <a:pPr marL="0" indent="0">
              <a:buNone/>
            </a:pPr>
            <a:endParaRPr lang="en-GB" sz="2000" dirty="0"/>
          </a:p>
          <a:p>
            <a:pPr marL="0" indent="0">
              <a:buNone/>
            </a:pPr>
            <a:r>
              <a:rPr lang="en-GB" sz="2000" dirty="0"/>
              <a:t>This approach leads to improved project outcomes, reduced errors, and increased innovation, ultimately driving better business performance and customer satisfac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026" name="Picture 2" descr="SDLC (Software Development Life Cycle)Phases, Process. What is SDLC">
            <a:extLst>
              <a:ext uri="{FF2B5EF4-FFF2-40B4-BE49-F238E27FC236}">
                <a16:creationId xmlns:a16="http://schemas.microsoft.com/office/drawing/2014/main" id="{24181F53-ADBA-807C-2D6B-08B6CAC2E69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62648" y="2550160"/>
            <a:ext cx="5044918" cy="2728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652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 Shell leverages the expertise of business analysts to gather and </a:t>
            </a:r>
            <a:r>
              <a:rPr lang="en-GB" sz="2000" dirty="0" err="1"/>
              <a:t>analyze</a:t>
            </a:r>
            <a:r>
              <a:rPr lang="en-GB" sz="2000" dirty="0"/>
              <a:t> requirements, ensuring that the SDLC aligns with business goals and stakeholder needs.</a:t>
            </a:r>
          </a:p>
          <a:p>
            <a:pPr marL="0" indent="0">
              <a:buNone/>
            </a:pPr>
            <a:endParaRPr lang="en-GB" sz="2000" dirty="0"/>
          </a:p>
          <a:p>
            <a:pPr marL="0" indent="0">
              <a:buNone/>
            </a:pPr>
            <a:r>
              <a:rPr lang="en-GB" sz="2000" dirty="0"/>
              <a:t>This results in more accurate project scopes, better alignment with business objectives, and enhanced stakeholder satisfaction, leading to successful project delivery and optimized resource utiliza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What is the role of a business analyst? | MasterStart">
            <a:extLst>
              <a:ext uri="{FF2B5EF4-FFF2-40B4-BE49-F238E27FC236}">
                <a16:creationId xmlns:a16="http://schemas.microsoft.com/office/drawing/2014/main" id="{CF0BA101-B636-A7D4-ADF4-BBB3424424C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374255" y="2132115"/>
            <a:ext cx="3486785" cy="3486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60412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6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meticulously crafts Business Requirements Documents (BRDs) to clearly define project objectives, scope, and stakeholder expectations, ensuring alignment throughout the SDLC.</a:t>
            </a:r>
          </a:p>
          <a:p>
            <a:pPr marL="0" indent="0">
              <a:buNone/>
            </a:pPr>
            <a:endParaRPr lang="en-GB" sz="2000" dirty="0"/>
          </a:p>
          <a:p>
            <a:pPr marL="0" indent="0">
              <a:buNone/>
            </a:pPr>
            <a:r>
              <a:rPr lang="en-GB" sz="2000" dirty="0"/>
              <a:t>This practice leads to more structured and efficient project execution, minimizes misunderstandings, and enhances overall project success by providing a clear roadmap for development team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 name="Picture 8" descr="A diagram of a document&#10;&#10;Description automatically generated">
            <a:extLst>
              <a:ext uri="{FF2B5EF4-FFF2-40B4-BE49-F238E27FC236}">
                <a16:creationId xmlns:a16="http://schemas.microsoft.com/office/drawing/2014/main" id="{DD9D2151-0CE7-51C5-EFB9-30E03B3FEC48}"/>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430855" y="1901762"/>
            <a:ext cx="3515504" cy="3994701"/>
          </a:xfrm>
          <a:prstGeom prst="rect">
            <a:avLst/>
          </a:prstGeom>
        </p:spPr>
      </p:pic>
    </p:spTree>
    <p:extLst>
      <p:ext uri="{BB962C8B-B14F-4D97-AF65-F5344CB8AC3E}">
        <p14:creationId xmlns:p14="http://schemas.microsoft.com/office/powerpoint/2010/main" val="3397926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7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integrates this learning by continuously updating its software requirements specifications (SRS) to reflect the latest industry standards and best practices. This ensures that their software solutions remain robust, efficient, and aligned with business goals.</a:t>
            </a:r>
          </a:p>
          <a:p>
            <a:pPr marL="0" indent="0">
              <a:buNone/>
            </a:pPr>
            <a:endParaRPr lang="en-GB" sz="2000" dirty="0"/>
          </a:p>
          <a:p>
            <a:pPr marL="0" indent="0">
              <a:buNone/>
            </a:pPr>
            <a:r>
              <a:rPr lang="en-GB" sz="2000" dirty="0"/>
              <a:t>By implementing this learning, Shell enhances its operational efficiency and reduces the risk of software failures. This leads to improved project outcomes, cost savings, and a stronger competitive edge in the market.</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How to Create a Software Requirements Specification (SRS) Document for ...">
            <a:extLst>
              <a:ext uri="{FF2B5EF4-FFF2-40B4-BE49-F238E27FC236}">
                <a16:creationId xmlns:a16="http://schemas.microsoft.com/office/drawing/2014/main" id="{68129B23-61D7-BD46-E309-3DED481856E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7" y="2351300"/>
            <a:ext cx="4514850" cy="3095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6552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Embrace Growth, Achieve Excellenc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7" name="Picture 6" descr="A person running from a plant in a pot&#10;&#10;Description automatically generated">
            <a:extLst>
              <a:ext uri="{FF2B5EF4-FFF2-40B4-BE49-F238E27FC236}">
                <a16:creationId xmlns:a16="http://schemas.microsoft.com/office/drawing/2014/main" id="{2E7FBDEF-5103-FC8E-61AB-F953E7DF1033}"/>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259320" y="2006600"/>
            <a:ext cx="3632200" cy="363220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 Faced: Implementing a growth mindset can be difficult due to ingrained habits and fear of failure. Overcoming resistance to change and maintaining motivation during setbacks are common hurdles.</a:t>
            </a:r>
          </a:p>
          <a:p>
            <a:pPr marL="0" indent="0">
              <a:buNone/>
            </a:pPr>
            <a:r>
              <a:rPr lang="en-GB" sz="2000" dirty="0"/>
              <a:t>Plan to Overcome: To address these challenges, I plan to set small, achievable goals to build confidence, seek feedback to improve continuously, and cultivate a supportive environment that encourages learning and resilience. This approach will help in gradually shifting towards a growth mindset.</a:t>
            </a:r>
            <a:endParaRPr lang="en-US" sz="2000" dirty="0"/>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194" name="Picture 2" descr="The Growth Mindset Challenge | adidas GamePlan A">
            <a:extLst>
              <a:ext uri="{FF2B5EF4-FFF2-40B4-BE49-F238E27FC236}">
                <a16:creationId xmlns:a16="http://schemas.microsoft.com/office/drawing/2014/main" id="{767DDA49-5AC0-8376-4EEA-FB09030AE86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770208" y="1941742"/>
            <a:ext cx="4611887" cy="38912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 Faced: Implementing the Power-Interest Grid can be challenging due to the dynamic nature of stakeholder interests and power. Accurately identifying and categorizing stakeholders and managing conflicting interests can be difficult.</a:t>
            </a:r>
          </a:p>
          <a:p>
            <a:pPr marL="0" indent="0">
              <a:buNone/>
            </a:pPr>
            <a:r>
              <a:rPr lang="en-GB" sz="2000" dirty="0"/>
              <a:t>Plan to Overcome: To address these challenges, I plan to regularly update stakeholder analysis, engage in continuous communication to understand their evolving interests, and develop strategies to balance conflicting priorities. This approach will help in effectively managing stakeholders and ensuring project success.</a:t>
            </a:r>
            <a:endParaRPr lang="en-US" sz="2000" dirty="0"/>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222" name="Picture 6" descr="1 The power / interest matrix (adapted from Olander, 2007; Johnson and ...">
            <a:extLst>
              <a:ext uri="{FF2B5EF4-FFF2-40B4-BE49-F238E27FC236}">
                <a16:creationId xmlns:a16="http://schemas.microsoft.com/office/drawing/2014/main" id="{FE87CDBE-BD4E-6EAE-A85F-8ADF1ED067D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7" y="1860993"/>
            <a:ext cx="4514850" cy="3648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 Faced: Creating effective presentations can be challenging due to the need for thorough audience analysis, organizing complex content, designing visually appealing slides, and delivering the message confidently. Balancing all these elements can be overwhelming.</a:t>
            </a:r>
          </a:p>
          <a:p>
            <a:pPr marL="0" indent="0">
              <a:buNone/>
            </a:pPr>
            <a:r>
              <a:rPr lang="en-GB" sz="2000" dirty="0"/>
              <a:t>Plan to Overcome: To address these challenges, I plan to invest time in understanding my audience, use structured templates for organizing content, seek feedback on slide design, and practice delivery to build confidence. </a:t>
            </a:r>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0242" name="Picture 2" descr="PPT - Creating an Effective Presentation PowerPoint Presentation, free ...">
            <a:extLst>
              <a:ext uri="{FF2B5EF4-FFF2-40B4-BE49-F238E27FC236}">
                <a16:creationId xmlns:a16="http://schemas.microsoft.com/office/drawing/2014/main" id="{716395F6-5BF1-E85E-614A-201A9121F52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83347" y="2132115"/>
            <a:ext cx="4943172" cy="3707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 Faced:</a:t>
            </a:r>
          </a:p>
          <a:p>
            <a:pPr marL="0" indent="0">
              <a:buNone/>
            </a:pPr>
            <a:r>
              <a:rPr lang="en-GB" sz="2000" dirty="0"/>
              <a:t>Integrating new SDLC processes into existing workflows.</a:t>
            </a:r>
          </a:p>
          <a:p>
            <a:pPr marL="0" indent="0">
              <a:buNone/>
            </a:pPr>
            <a:r>
              <a:rPr lang="en-GB" sz="2000" dirty="0"/>
              <a:t>Resistance to change from team members.</a:t>
            </a:r>
          </a:p>
          <a:p>
            <a:pPr marL="0" indent="0">
              <a:buNone/>
            </a:pPr>
            <a:r>
              <a:rPr lang="en-GB" sz="2000" dirty="0"/>
              <a:t>Plans to Overcome:</a:t>
            </a:r>
          </a:p>
          <a:p>
            <a:pPr marL="0" indent="0">
              <a:buNone/>
            </a:pPr>
            <a:r>
              <a:rPr lang="en-GB" sz="2000" dirty="0"/>
              <a:t>Provide detailed training and documentation.</a:t>
            </a:r>
          </a:p>
          <a:p>
            <a:pPr marL="0" indent="0">
              <a:buNone/>
            </a:pPr>
            <a:r>
              <a:rPr lang="en-GB" sz="2000" dirty="0"/>
              <a:t>Engage in open discussions and involve team members in planning.</a:t>
            </a:r>
          </a:p>
          <a:p>
            <a:pPr marL="0" indent="0">
              <a:buNone/>
            </a:pPr>
            <a:r>
              <a:rPr lang="en-GB" sz="2000" dirty="0"/>
              <a:t>Implement peer reviews and automated testing for quality assurance.</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descr="Software Development Challenges PowerPoint and Google Slides Template ...">
            <a:extLst>
              <a:ext uri="{FF2B5EF4-FFF2-40B4-BE49-F238E27FC236}">
                <a16:creationId xmlns:a16="http://schemas.microsoft.com/office/drawing/2014/main" id="{F6452912-0216-CC9A-DC3A-FB184A884EEB}"/>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06236" y="2509785"/>
            <a:ext cx="4939831" cy="2778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57776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 Faced:</a:t>
            </a:r>
          </a:p>
          <a:p>
            <a:pPr marL="0" indent="0">
              <a:buNone/>
            </a:pPr>
            <a:r>
              <a:rPr lang="en-GB" sz="2000" dirty="0"/>
              <a:t>Balancing stakeholder expectations with project constraints.</a:t>
            </a:r>
          </a:p>
          <a:p>
            <a:pPr marL="0" indent="0">
              <a:buNone/>
            </a:pPr>
            <a:r>
              <a:rPr lang="en-GB" sz="2000" dirty="0"/>
              <a:t>Managing large volumes of data for accurate analysis.</a:t>
            </a:r>
          </a:p>
          <a:p>
            <a:pPr marL="0" indent="0">
              <a:buNone/>
            </a:pPr>
            <a:r>
              <a:rPr lang="en-GB" sz="2000" dirty="0"/>
              <a:t>Ensuring clear communication across diverse teams.</a:t>
            </a:r>
          </a:p>
          <a:p>
            <a:pPr marL="0" indent="0">
              <a:buNone/>
            </a:pPr>
            <a:r>
              <a:rPr lang="en-GB" sz="2000" dirty="0"/>
              <a:t>Plans to Overcome:</a:t>
            </a:r>
          </a:p>
          <a:p>
            <a:pPr marL="0" indent="0">
              <a:buNone/>
            </a:pPr>
            <a:r>
              <a:rPr lang="en-GB" sz="2000" dirty="0"/>
              <a:t>Set realistic expectations and maintain transparent communication.</a:t>
            </a:r>
          </a:p>
          <a:p>
            <a:pPr marL="0" indent="0">
              <a:buNone/>
            </a:pPr>
            <a:r>
              <a:rPr lang="en-GB" sz="2000" dirty="0"/>
              <a:t>Foster regular meetings and use collaboration platforms for clarity.</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146" name="Picture 2" descr="Challenges Faced by Business Analyst (BA) and Solution to Overcome It">
            <a:extLst>
              <a:ext uri="{FF2B5EF4-FFF2-40B4-BE49-F238E27FC236}">
                <a16:creationId xmlns:a16="http://schemas.microsoft.com/office/drawing/2014/main" id="{1F3F5A09-4E78-1112-5B96-033A6B32BEE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47962" y="2704724"/>
            <a:ext cx="4852653" cy="2375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3674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6</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 Faced:</a:t>
            </a:r>
          </a:p>
          <a:p>
            <a:pPr marL="0" indent="0">
              <a:buNone/>
            </a:pPr>
            <a:r>
              <a:rPr lang="en-GB" sz="2000" dirty="0"/>
              <a:t>Ensuring all stakeholder requirements are accurately captured and documented.</a:t>
            </a:r>
          </a:p>
          <a:p>
            <a:pPr marL="0" indent="0">
              <a:buNone/>
            </a:pPr>
            <a:r>
              <a:rPr lang="en-GB" sz="2000" dirty="0"/>
              <a:t>Managing changes and updates to the BRD throughout the project lifecycle.</a:t>
            </a:r>
          </a:p>
          <a:p>
            <a:pPr marL="0" indent="0">
              <a:buNone/>
            </a:pPr>
            <a:r>
              <a:rPr lang="en-GB" sz="2000" dirty="0"/>
              <a:t>Aligning the BRD with technical constraints and project scope.</a:t>
            </a:r>
          </a:p>
          <a:p>
            <a:pPr marL="0" indent="0">
              <a:buNone/>
            </a:pPr>
            <a:r>
              <a:rPr lang="en-GB" sz="2000" dirty="0"/>
              <a:t>Plans to Overcome:</a:t>
            </a:r>
          </a:p>
          <a:p>
            <a:pPr marL="0" indent="0">
              <a:buNone/>
            </a:pPr>
            <a:r>
              <a:rPr lang="en-GB" sz="2000" dirty="0"/>
              <a:t>Implement a robust change management process for updates.</a:t>
            </a:r>
          </a:p>
          <a:p>
            <a:pPr marL="0" indent="0">
              <a:buNone/>
            </a:pPr>
            <a:r>
              <a:rPr lang="en-GB" sz="2000" dirty="0"/>
              <a:t>Collaborate closely with technical teams to ensure alignment.</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0" name="Picture 2" descr="Business Requirements Document (BRD) Template &amp; Guide | EdrawMind">
            <a:extLst>
              <a:ext uri="{FF2B5EF4-FFF2-40B4-BE49-F238E27FC236}">
                <a16:creationId xmlns:a16="http://schemas.microsoft.com/office/drawing/2014/main" id="{6CBFCE1A-F4DA-4C83-9CB0-78FB43D01153}"/>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75191" y="2459122"/>
            <a:ext cx="5201921" cy="2731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89410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7</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a:t>
            </a:r>
          </a:p>
          <a:p>
            <a:pPr marL="0" indent="0">
              <a:buNone/>
            </a:pPr>
            <a:r>
              <a:rPr lang="en-GB" sz="2000" dirty="0"/>
              <a:t>Understanding and clarifying vague or conflicting requirements from stakeholders.</a:t>
            </a:r>
          </a:p>
          <a:p>
            <a:pPr marL="0" indent="0">
              <a:buNone/>
            </a:pPr>
            <a:r>
              <a:rPr lang="en-GB" sz="2000" dirty="0"/>
              <a:t>Managing changes and additions to the project scope during the documentation process.</a:t>
            </a:r>
          </a:p>
          <a:p>
            <a:pPr marL="0" indent="0">
              <a:buNone/>
            </a:pPr>
            <a:r>
              <a:rPr lang="en-GB" sz="2000" dirty="0"/>
              <a:t>Plans to Overcome:</a:t>
            </a:r>
          </a:p>
          <a:p>
            <a:pPr marL="0" indent="0">
              <a:buNone/>
            </a:pPr>
            <a:r>
              <a:rPr lang="en-GB" sz="2000" dirty="0"/>
              <a:t>Conduct regular meetings with stakeholders to clarify requirements and ensure alignment.</a:t>
            </a:r>
          </a:p>
          <a:p>
            <a:pPr marL="0" indent="0">
              <a:buNone/>
            </a:pPr>
            <a:r>
              <a:rPr lang="en-GB" sz="2000" dirty="0"/>
              <a:t>Implement a change control process to evaluate and approve any changes to the project scope.</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194" name="Picture 2" descr="6 Steps for Writing an SRS that Works">
            <a:extLst>
              <a:ext uri="{FF2B5EF4-FFF2-40B4-BE49-F238E27FC236}">
                <a16:creationId xmlns:a16="http://schemas.microsoft.com/office/drawing/2014/main" id="{D713B5C0-E157-E7C0-40C7-7CA55248E069}"/>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048121" y="2045306"/>
            <a:ext cx="4056061" cy="3707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15003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8</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and learning all my learnings including:</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Growth Mindset</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Power Interest Grid</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Effective Elements of a presentation</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SDLC, Functions of BA BRD, and SR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am thinking of following the below timeline:</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 Brush up on all my key learnings including Soft Skills and 2 days technical training</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Sunday – Make short notes on all of them</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think that the status will be complete by the end of the week for all my learning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0</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Nitya ma’am explained each concept in a very informative manner and was very clear in explaining everything. She conducted so many group activities as were very sleepy during the classes because of theoretical concepts. She gave us breaks without any hesitation and we enjoyed her sessions very much. </a:t>
            </a:r>
            <a:br>
              <a:rPr lang="en-US" sz="2000" dirty="0"/>
            </a:br>
            <a:br>
              <a:rPr lang="en-US" sz="2000" dirty="0"/>
            </a:br>
            <a:r>
              <a:rPr lang="en-US" sz="2000" dirty="0"/>
              <a:t>Mohammed Suhail Abbasi sir is a perfect example of how interactive learning is done. He is very good in teaching concepts; he gives us real life examples for each concept and motivates us for doing well in our life and make our parents proud.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people posing for a photo&#10;&#10;Description automatically generated">
            <a:extLst>
              <a:ext uri="{FF2B5EF4-FFF2-40B4-BE49-F238E27FC236}">
                <a16:creationId xmlns:a16="http://schemas.microsoft.com/office/drawing/2014/main" id="{B1310D58-C334-980E-ADDD-D739D63A524C}"/>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790153" y="2287438"/>
            <a:ext cx="4572000" cy="342900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1</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ed very effectively all my key learnings including Growth Mindset, Power Interest Grid, Effective elements of a presentation, Software Development Life Cycle (SDLC), and models of SDLC. I think that I will remember these concepts and apply them in my personal as well as professional life.</a:t>
            </a:r>
          </a:p>
          <a:p>
            <a:pPr>
              <a:lnSpc>
                <a:spcPct val="100000"/>
              </a:lnSpc>
            </a:pPr>
            <a:r>
              <a:rPr lang="en-US" sz="1800" dirty="0"/>
              <a:t>The upcoming topics includes Scrum Agile model of SDLC, practical hands-on on the Azure DevOps, Testing </a:t>
            </a:r>
            <a:r>
              <a:rPr lang="en-US" sz="1800" dirty="0" err="1"/>
              <a:t>etc</a:t>
            </a:r>
            <a:r>
              <a:rPr lang="en-US" sz="1800" dirty="0"/>
              <a:t>… which I think are very important for the role I am going to play in the organization as a Software Engineer. These concepts will help me in developing my knowledge in the field of software engineering and implement these in my professional career. </a:t>
            </a:r>
          </a:p>
          <a:p>
            <a:pPr>
              <a:lnSpc>
                <a:spcPct val="100000"/>
              </a:lnSpc>
            </a:pPr>
            <a:r>
              <a:rPr lang="en-US" sz="1800" dirty="0"/>
              <a:t>The topics from the current week like SDLC, BRD, SRS, models of SDLC, functions of Business Analyst, BRD, SRS, all these topics are the foundation of the topics that will be upcoming in the next week as all of them are related to Software Engineering. </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Growth Mindset</a:t>
            </a:r>
          </a:p>
          <a:p>
            <a:r>
              <a:rPr lang="en-GB" sz="2000" dirty="0"/>
              <a:t>A growth mindset sees intelligence and talents as qualities that can be developed through dedication and hard work</a:t>
            </a:r>
            <a:endParaRPr lang="en-US" sz="2000" dirty="0"/>
          </a:p>
          <a:p>
            <a:r>
              <a:rPr lang="en-GB" sz="2000" dirty="0"/>
              <a:t>Implementing a growth mindset in the energy sector drives innovation and efficiency by encouraging continuous learning. This leads to advancements in renewable energy, smart grids, and energy storage solution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0" name="Picture 2" descr="8 Growth Mindset Ways to Develop Mental Strength">
            <a:extLst>
              <a:ext uri="{FF2B5EF4-FFF2-40B4-BE49-F238E27FC236}">
                <a16:creationId xmlns:a16="http://schemas.microsoft.com/office/drawing/2014/main" id="{5015F04C-B4D8-1D18-96F2-7CFD65B10E7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607437" y="1941742"/>
            <a:ext cx="3253603" cy="3747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Power Interest Grid</a:t>
            </a:r>
          </a:p>
          <a:p>
            <a:r>
              <a:rPr lang="en-GB" sz="2000" dirty="0"/>
              <a:t>Prioritize stakeholders with high power and high interest by closely managing their expectations, while keeping those with high power but low interest.</a:t>
            </a:r>
          </a:p>
          <a:p>
            <a:r>
              <a:rPr lang="en-GB" sz="2000" dirty="0"/>
              <a:t>High-power, high-interest stakeholders like government regulators and major investors should be closely managed to ensure their support and alignment with project goals. </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4" name="Picture 2" descr="Power Interest Grid | scottybreaksitdown">
            <a:extLst>
              <a:ext uri="{FF2B5EF4-FFF2-40B4-BE49-F238E27FC236}">
                <a16:creationId xmlns:a16="http://schemas.microsoft.com/office/drawing/2014/main" id="{CEF07BC9-E677-BD0C-5151-F869B05548E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32880" y="2661920"/>
            <a:ext cx="4974614" cy="26420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Elements of an effective presentation</a:t>
            </a:r>
          </a:p>
          <a:p>
            <a:r>
              <a:rPr lang="en-GB" sz="2000" dirty="0"/>
              <a:t>Audience Analysis, Content, Design, Delivery</a:t>
            </a:r>
            <a:endParaRPr lang="en-US" sz="2000" dirty="0"/>
          </a:p>
          <a:p>
            <a:r>
              <a:rPr lang="en-GB" sz="2000" dirty="0"/>
              <a:t>In the energy sector, effective presentations involve tailoring content to stakeholders, using clear and professional slides, and delivering messages persuasively to ensure understanding and support for projects. This approach enhances communication and project success.</a:t>
            </a: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4098" name="Picture 2" descr="How To Develop Effective Presentation Skills | Walkerstone">
            <a:extLst>
              <a:ext uri="{FF2B5EF4-FFF2-40B4-BE49-F238E27FC236}">
                <a16:creationId xmlns:a16="http://schemas.microsoft.com/office/drawing/2014/main" id="{F6552E51-5EEA-5A6C-23C2-0DCB9A035F87}"/>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304502" y="1958192"/>
            <a:ext cx="3543299" cy="3751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oftware Development Life Cycle (SDLC)</a:t>
            </a:r>
          </a:p>
          <a:p>
            <a:r>
              <a:rPr lang="en-GB" sz="2000" dirty="0"/>
              <a:t>It is a structured process that ensures high-quality software by following stages like Initial, Analysis, Design, Coding, Testing and Delivery &amp; Maintenance. It helps manage project scope, time, and cost effectively.</a:t>
            </a:r>
            <a:endParaRPr lang="en-US" sz="2000" dirty="0"/>
          </a:p>
          <a:p>
            <a:r>
              <a:rPr lang="en-GB" sz="2000" dirty="0"/>
              <a:t>In the energy sector, SDLC is used to develop and maintain smart grid technologies, manage renewable energy projects, and create energy management systems. It ensures efficient energy distribution, optimizes usage, and enhances reliability through predictive maintenan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3314" name="Picture 2" descr="SDLC Explained: Master Software Development Life Cycle in 2023">
            <a:extLst>
              <a:ext uri="{FF2B5EF4-FFF2-40B4-BE49-F238E27FC236}">
                <a16:creationId xmlns:a16="http://schemas.microsoft.com/office/drawing/2014/main" id="{AA51102A-968E-7B84-4350-75F047B139CA}"/>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16440" r="21968"/>
          <a:stretch/>
        </p:blipFill>
        <p:spPr bwMode="auto">
          <a:xfrm>
            <a:off x="6959600" y="1903625"/>
            <a:ext cx="4383978" cy="40037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18082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Functions of Business Analyst (BA)</a:t>
            </a:r>
          </a:p>
          <a:p>
            <a:r>
              <a:rPr lang="en-US" sz="2000" dirty="0"/>
              <a:t>Define and scope of business areas, Elicit Requirements, Analysis and documentation requirements, Communicate Requirements, Identify Solution, and verify if solution meets the requirements</a:t>
            </a:r>
          </a:p>
          <a:p>
            <a:r>
              <a:rPr lang="en-GB" sz="2000" dirty="0"/>
              <a:t>In the energy sector, business analysts monitor market trends and regulatory changes, assess the feasibility of renewable energy projects, and optimize energy usage. They ensure alignment between business strategies and operational goals, enhancing efficiency and sustainability</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4338" name="Picture 2" descr="Top 10 Responsibilities of a Business Analyst (2022)">
            <a:extLst>
              <a:ext uri="{FF2B5EF4-FFF2-40B4-BE49-F238E27FC236}">
                <a16:creationId xmlns:a16="http://schemas.microsoft.com/office/drawing/2014/main" id="{A1AD81D1-E21C-CA78-836E-28AE4F1FCD5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758" r="29151"/>
          <a:stretch/>
        </p:blipFill>
        <p:spPr bwMode="auto">
          <a:xfrm>
            <a:off x="7315200" y="2327488"/>
            <a:ext cx="3840480" cy="3143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58873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6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Business Requirements Document (BRD)</a:t>
            </a:r>
          </a:p>
          <a:p>
            <a:r>
              <a:rPr lang="en-GB" sz="2000" dirty="0"/>
              <a:t>BRD ensures all stakeholders understand project goals and scope, identifies potential risks early, and serves as a roadmap for project success. It enhances communication and alignment with business objectives.</a:t>
            </a:r>
          </a:p>
          <a:p>
            <a:r>
              <a:rPr lang="en-GB" sz="2000" dirty="0"/>
              <a:t>In the energy sector, it is used to clearly define project goals and requirements for renewable energy projects, smart grid technologies, and energy management systems. It ensures alignment among stakeholders, identifies potential risks, and guides the project to successful comple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7CA73A26-4399-CA90-FE4E-16FEB35BBEEF}"/>
              </a:ext>
            </a:extLst>
          </p:cNvPr>
          <p:cNvPicPr>
            <a:picLocks noChangeAspect="1"/>
          </p:cNvPicPr>
          <p:nvPr/>
        </p:nvPicPr>
        <p:blipFill>
          <a:blip r:embed="rId7"/>
          <a:stretch>
            <a:fillRect/>
          </a:stretch>
        </p:blipFill>
        <p:spPr>
          <a:xfrm>
            <a:off x="6724519" y="1941742"/>
            <a:ext cx="4703265" cy="3855227"/>
          </a:xfrm>
          <a:prstGeom prst="rect">
            <a:avLst/>
          </a:prstGeom>
        </p:spPr>
      </p:pic>
    </p:spTree>
    <p:extLst>
      <p:ext uri="{BB962C8B-B14F-4D97-AF65-F5344CB8AC3E}">
        <p14:creationId xmlns:p14="http://schemas.microsoft.com/office/powerpoint/2010/main" val="2936174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88</TotalTime>
  <Words>1928</Words>
  <Application>Microsoft Office PowerPoint</Application>
  <PresentationFormat>Widescreen</PresentationFormat>
  <Paragraphs>154</Paragraphs>
  <Slides>32</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6"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Learning 5 | My takeaways</vt:lpstr>
      <vt:lpstr>Learning 6 | My takeaways</vt:lpstr>
      <vt:lpstr>Learning 7 | My takeaways</vt:lpstr>
      <vt:lpstr>PowerPoint Presentation</vt:lpstr>
      <vt:lpstr>Learning 1 | Relevance for Shell</vt:lpstr>
      <vt:lpstr>Learning 2 | Relevance for Shell</vt:lpstr>
      <vt:lpstr>Learning 3 | Relevance for Shell</vt:lpstr>
      <vt:lpstr>Learning 4 | Relevance for Shell</vt:lpstr>
      <vt:lpstr>Learning 5 | Relevance for Shell</vt:lpstr>
      <vt:lpstr>Learning 6 | Relevance for Shell</vt:lpstr>
      <vt:lpstr>Learning 7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Challenge faced while implementing Learning 5</vt:lpstr>
      <vt:lpstr>Challenge faced while implementing Learning 6</vt:lpstr>
      <vt:lpstr>Challenge faced while implementing Learning 7</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grawal, Shobhit SBOBNG-PTIY/BCS</cp:lastModifiedBy>
  <cp:revision>501</cp:revision>
  <dcterms:created xsi:type="dcterms:W3CDTF">2022-01-18T12:35:56Z</dcterms:created>
  <dcterms:modified xsi:type="dcterms:W3CDTF">2024-08-31T05:1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